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8" r:id="rId2"/>
    <p:sldMasterId id="2147483725" r:id="rId3"/>
  </p:sldMasterIdLst>
  <p:notesMasterIdLst>
    <p:notesMasterId r:id="rId26"/>
  </p:notesMasterIdLst>
  <p:sldIdLst>
    <p:sldId id="266" r:id="rId4"/>
    <p:sldId id="842" r:id="rId5"/>
    <p:sldId id="267" r:id="rId6"/>
    <p:sldId id="2147482870" r:id="rId7"/>
    <p:sldId id="2147482910" r:id="rId8"/>
    <p:sldId id="2147482911" r:id="rId9"/>
    <p:sldId id="2147482912" r:id="rId10"/>
    <p:sldId id="2147482913" r:id="rId11"/>
    <p:sldId id="2147482914" r:id="rId12"/>
    <p:sldId id="2147482899" r:id="rId13"/>
    <p:sldId id="2147482900" r:id="rId14"/>
    <p:sldId id="2147482901" r:id="rId15"/>
    <p:sldId id="2147482902" r:id="rId16"/>
    <p:sldId id="2147482903" r:id="rId17"/>
    <p:sldId id="2147482904" r:id="rId18"/>
    <p:sldId id="2147482905" r:id="rId19"/>
    <p:sldId id="2147482906" r:id="rId20"/>
    <p:sldId id="2147482907" r:id="rId21"/>
    <p:sldId id="2147482908" r:id="rId22"/>
    <p:sldId id="2147482909" r:id="rId23"/>
    <p:sldId id="841" r:id="rId24"/>
    <p:sldId id="316" r:id="rId2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A73684-4E76-438D-8D98-6736059C096C}">
          <p14:sldIdLst>
            <p14:sldId id="266"/>
            <p14:sldId id="842"/>
            <p14:sldId id="267"/>
            <p14:sldId id="2147482870"/>
            <p14:sldId id="2147482910"/>
            <p14:sldId id="2147482911"/>
            <p14:sldId id="2147482912"/>
            <p14:sldId id="2147482913"/>
            <p14:sldId id="2147482914"/>
            <p14:sldId id="2147482899"/>
            <p14:sldId id="2147482900"/>
            <p14:sldId id="2147482901"/>
            <p14:sldId id="2147482902"/>
            <p14:sldId id="2147482903"/>
            <p14:sldId id="2147482904"/>
            <p14:sldId id="2147482905"/>
            <p14:sldId id="2147482906"/>
            <p14:sldId id="2147482907"/>
            <p14:sldId id="2147482908"/>
            <p14:sldId id="2147482909"/>
            <p14:sldId id="841"/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C6A8498-23FD-7428-9E47-33DB70BA6D2B}" name="Larsen, Trudy" initials="LT" userId="S::larsentr@oregonstate.edu::fa501139-2f47-4b1e-a59a-9523a2a23c8a" providerId="AD"/>
  <p188:author id="{E0C07ECE-5D8C-A5F7-C0F3-4D04CC3BC77B}" name="Kilgore, Megan" initials="MK" userId="S::kilgorme@oregonstate.edu::34440d79-2c96-4b54-a201-36c51a271c52" providerId="AD"/>
  <p188:author id="{00B827F5-D4FD-A005-F490-EF500F5FFA09}" name="Ray, Bonny" initials="BR" userId="S::raybo@oregonstate.edu::a5a4789d-1322-4fff-bc28-0b687a78831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orslund, Rachel" initials="FR" lastIdx="4" clrIdx="0">
    <p:extLst>
      <p:ext uri="{19B8F6BF-5375-455C-9EA6-DF929625EA0E}">
        <p15:presenceInfo xmlns:p15="http://schemas.microsoft.com/office/powerpoint/2012/main" userId="S-1-5-21-828376571-1197701538-1844936127-3114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9B"/>
    <a:srgbClr val="C4D6A4"/>
    <a:srgbClr val="D73F09"/>
    <a:srgbClr val="F29E66"/>
    <a:srgbClr val="6C1F04"/>
    <a:srgbClr val="A12F07"/>
    <a:srgbClr val="E8581E"/>
    <a:srgbClr val="4A773C"/>
    <a:srgbClr val="E8580A"/>
    <a:srgbClr val="E86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18E15-328E-4CB1-AB4B-44F4746D57B1}" v="136" dt="2026-03-12T22:15:43.693"/>
    <p1510:client id="{2DBFC2B4-3EDD-465A-A43A-55FA7D48AD02}" v="19" dt="2026-03-13T15:08:24.082"/>
    <p1510:client id="{3203A14F-0B16-46E0-9C1A-A879B5DAA8DA}" v="256" dt="2026-03-12T23:55:18.030"/>
    <p1510:client id="{A95516AC-B010-4C27-8EA8-4508B5E1F25B}" v="3" dt="2026-03-12T23:56:40.579"/>
    <p1510:client id="{B5A48F3A-EC29-4A8A-BD1D-44A8325A943A}" v="191" dt="2026-03-12T00:12:04.240"/>
    <p1510:client id="{B6625701-237B-4D29-9634-1E4F1B8FE729}" v="90" dt="2026-03-11T23:41:53.9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3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516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8/10/relationships/authors" Target="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tany R McDonald" userId="182ILz0QlAHOO9E1VxhYKH73KCoVr+BVrFwTcel+7F4=" providerId="None" clId="Web-{B5A48F3A-EC29-4A8A-BD1D-44A8325A943A}"/>
    <pc:docChg chg="modSld">
      <pc:chgData name="Brittany R McDonald" userId="182ILz0QlAHOO9E1VxhYKH73KCoVr+BVrFwTcel+7F4=" providerId="None" clId="Web-{B5A48F3A-EC29-4A8A-BD1D-44A8325A943A}" dt="2026-03-12T00:12:04.240" v="99" actId="20577"/>
      <pc:docMkLst>
        <pc:docMk/>
      </pc:docMkLst>
      <pc:sldChg chg="modSp">
        <pc:chgData name="Brittany R McDonald" userId="182ILz0QlAHOO9E1VxhYKH73KCoVr+BVrFwTcel+7F4=" providerId="None" clId="Web-{B5A48F3A-EC29-4A8A-BD1D-44A8325A943A}" dt="2026-03-12T00:12:04.240" v="99" actId="20577"/>
        <pc:sldMkLst>
          <pc:docMk/>
          <pc:sldMk cId="2246361009" sldId="2147482889"/>
        </pc:sldMkLst>
        <pc:spChg chg="mod">
          <ac:chgData name="Brittany R McDonald" userId="182ILz0QlAHOO9E1VxhYKH73KCoVr+BVrFwTcel+7F4=" providerId="None" clId="Web-{B5A48F3A-EC29-4A8A-BD1D-44A8325A943A}" dt="2026-03-12T00:12:04.240" v="99" actId="20577"/>
          <ac:spMkLst>
            <pc:docMk/>
            <pc:sldMk cId="2246361009" sldId="2147482889"/>
            <ac:spMk id="7" creationId="{41F3D3F2-6D21-3C75-DF6E-47F8062387AB}"/>
          </ac:spMkLst>
        </pc:spChg>
        <pc:spChg chg="mod">
          <ac:chgData name="Brittany R McDonald" userId="182ILz0QlAHOO9E1VxhYKH73KCoVr+BVrFwTcel+7F4=" providerId="None" clId="Web-{B5A48F3A-EC29-4A8A-BD1D-44A8325A943A}" dt="2026-03-12T00:00:23.124" v="10" actId="20577"/>
          <ac:spMkLst>
            <pc:docMk/>
            <pc:sldMk cId="2246361009" sldId="2147482889"/>
            <ac:spMk id="22" creationId="{D77D0730-C981-3FD8-8B54-191E3D0799F8}"/>
          </ac:spMkLst>
        </pc:spChg>
        <pc:spChg chg="mod">
          <ac:chgData name="Brittany R McDonald" userId="182ILz0QlAHOO9E1VxhYKH73KCoVr+BVrFwTcel+7F4=" providerId="None" clId="Web-{B5A48F3A-EC29-4A8A-BD1D-44A8325A943A}" dt="2026-03-12T00:00:43.108" v="18" actId="20577"/>
          <ac:spMkLst>
            <pc:docMk/>
            <pc:sldMk cId="2246361009" sldId="2147482889"/>
            <ac:spMk id="23" creationId="{C08CF004-4FA8-1ACD-1B08-A142E7CF0527}"/>
          </ac:spMkLst>
        </pc:spChg>
        <pc:spChg chg="mod">
          <ac:chgData name="Brittany R McDonald" userId="182ILz0QlAHOO9E1VxhYKH73KCoVr+BVrFwTcel+7F4=" providerId="None" clId="Web-{B5A48F3A-EC29-4A8A-BD1D-44A8325A943A}" dt="2026-03-12T00:01:57.125" v="54" actId="20577"/>
          <ac:spMkLst>
            <pc:docMk/>
            <pc:sldMk cId="2246361009" sldId="2147482889"/>
            <ac:spMk id="24" creationId="{18888009-DA77-988F-B49C-A18AD0D8F2FE}"/>
          </ac:spMkLst>
        </pc:spChg>
        <pc:spChg chg="mod">
          <ac:chgData name="Brittany R McDonald" userId="182ILz0QlAHOO9E1VxhYKH73KCoVr+BVrFwTcel+7F4=" providerId="None" clId="Web-{B5A48F3A-EC29-4A8A-BD1D-44A8325A943A}" dt="2026-03-12T00:02:10.656" v="56" actId="20577"/>
          <ac:spMkLst>
            <pc:docMk/>
            <pc:sldMk cId="2246361009" sldId="2147482889"/>
            <ac:spMk id="25" creationId="{538FEC7E-4E15-5FD8-CA11-EC6D8AC883D0}"/>
          </ac:spMkLst>
        </pc:spChg>
      </pc:sldChg>
    </pc:docChg>
  </pc:docChgLst>
  <pc:docChgLst>
    <pc:chgData name="Morgan Hatch" userId="rIqdmptQUgpEksZPKq5kWTdBXSjzC6X2knRP6QWCMIw=" providerId="None" clId="Web-{B6625701-237B-4D29-9634-1E4F1B8FE729}"/>
    <pc:docChg chg="modSld">
      <pc:chgData name="Morgan Hatch" userId="rIqdmptQUgpEksZPKq5kWTdBXSjzC6X2knRP6QWCMIw=" providerId="None" clId="Web-{B6625701-237B-4D29-9634-1E4F1B8FE729}" dt="2026-03-11T23:41:53.712" v="88" actId="20577"/>
      <pc:docMkLst>
        <pc:docMk/>
      </pc:docMkLst>
    </pc:docChg>
  </pc:docChgLst>
  <pc:docChgLst>
    <pc:chgData name="Angela Williamson" userId="nCGUFqJ+fB27d3tTDo8GWGRriSLKJYcThCWS6trkjHw=" providerId="None" clId="Web-{12514F3C-215F-4FE2-BE51-97966E1EE5E9}"/>
    <pc:docChg chg="addSld modSld modSection">
      <pc:chgData name="Angela Williamson" userId="nCGUFqJ+fB27d3tTDo8GWGRriSLKJYcThCWS6trkjHw=" providerId="None" clId="Web-{12514F3C-215F-4FE2-BE51-97966E1EE5E9}" dt="2026-03-10T15:28:35.350" v="466" actId="20577"/>
      <pc:docMkLst>
        <pc:docMk/>
      </pc:docMkLst>
    </pc:docChg>
  </pc:docChgLst>
  <pc:docChgLst>
    <pc:chgData name="Michael Mandzuk" userId="sQwueKevGaGZBXUEleAG41dHau9GSEnGtLAAk8DveIk=" providerId="None" clId="Web-{2DBFC2B4-3EDD-465A-A43A-55FA7D48AD02}"/>
    <pc:docChg chg="modSld">
      <pc:chgData name="Michael Mandzuk" userId="sQwueKevGaGZBXUEleAG41dHau9GSEnGtLAAk8DveIk=" providerId="None" clId="Web-{2DBFC2B4-3EDD-465A-A43A-55FA7D48AD02}" dt="2026-03-13T15:08:19.582" v="7" actId="20577"/>
      <pc:docMkLst>
        <pc:docMk/>
      </pc:docMkLst>
      <pc:sldChg chg="modSp">
        <pc:chgData name="Michael Mandzuk" userId="sQwueKevGaGZBXUEleAG41dHau9GSEnGtLAAk8DveIk=" providerId="None" clId="Web-{2DBFC2B4-3EDD-465A-A43A-55FA7D48AD02}" dt="2026-03-13T15:08:19.582" v="7" actId="20577"/>
        <pc:sldMkLst>
          <pc:docMk/>
          <pc:sldMk cId="1633337922" sldId="2147482914"/>
        </pc:sldMkLst>
        <pc:spChg chg="mod">
          <ac:chgData name="Michael Mandzuk" userId="sQwueKevGaGZBXUEleAG41dHau9GSEnGtLAAk8DveIk=" providerId="None" clId="Web-{2DBFC2B4-3EDD-465A-A43A-55FA7D48AD02}" dt="2026-03-13T15:08:19.582" v="7" actId="20577"/>
          <ac:spMkLst>
            <pc:docMk/>
            <pc:sldMk cId="1633337922" sldId="2147482914"/>
            <ac:spMk id="7" creationId="{41F3D3F2-6D21-3C75-DF6E-47F8062387AB}"/>
          </ac:spMkLst>
        </pc:spChg>
      </pc:sldChg>
    </pc:docChg>
  </pc:docChgLst>
  <pc:docChgLst>
    <pc:chgData name="Angela Williamson" userId="nCGUFqJ+fB27d3tTDo8GWGRriSLKJYcThCWS6trkjHw=" providerId="None" clId="Web-{92514C53-E781-4A17-AD9C-275FC365AB89}"/>
    <pc:docChg chg="modSld">
      <pc:chgData name="Angela Williamson" userId="nCGUFqJ+fB27d3tTDo8GWGRriSLKJYcThCWS6trkjHw=" providerId="None" clId="Web-{92514C53-E781-4A17-AD9C-275FC365AB89}" dt="2026-03-10T20:37:49.479" v="23" actId="20577"/>
      <pc:docMkLst>
        <pc:docMk/>
      </pc:docMkLst>
    </pc:docChg>
  </pc:docChgLst>
  <pc:docChgLst>
    <pc:chgData name="Eric Schueffner" userId="YjkD/eavdwGTfw4ohinkXn8ydSMylogPqeXHIA+zbhU=" providerId="None" clId="Web-{3203A14F-0B16-46E0-9C1A-A879B5DAA8DA}"/>
    <pc:docChg chg="modSld">
      <pc:chgData name="Eric Schueffner" userId="YjkD/eavdwGTfw4ohinkXn8ydSMylogPqeXHIA+zbhU=" providerId="None" clId="Web-{3203A14F-0B16-46E0-9C1A-A879B5DAA8DA}" dt="2026-03-12T23:55:17.780" v="252" actId="20577"/>
      <pc:docMkLst>
        <pc:docMk/>
      </pc:docMkLst>
      <pc:sldChg chg="addSp modSp">
        <pc:chgData name="Eric Schueffner" userId="YjkD/eavdwGTfw4ohinkXn8ydSMylogPqeXHIA+zbhU=" providerId="None" clId="Web-{3203A14F-0B16-46E0-9C1A-A879B5DAA8DA}" dt="2026-03-12T23:55:17.780" v="252" actId="20577"/>
        <pc:sldMkLst>
          <pc:docMk/>
          <pc:sldMk cId="3559530949" sldId="2147482910"/>
        </pc:sldMkLst>
        <pc:spChg chg="mod">
          <ac:chgData name="Eric Schueffner" userId="YjkD/eavdwGTfw4ohinkXn8ydSMylogPqeXHIA+zbhU=" providerId="None" clId="Web-{3203A14F-0B16-46E0-9C1A-A879B5DAA8DA}" dt="2026-03-12T23:47:35.460" v="10" actId="20577"/>
          <ac:spMkLst>
            <pc:docMk/>
            <pc:sldMk cId="3559530949" sldId="2147482910"/>
            <ac:spMk id="2" creationId="{E12F99FE-EAA9-D61C-B149-7E4AC7EEE08F}"/>
          </ac:spMkLst>
        </pc:spChg>
        <pc:spChg chg="mod">
          <ac:chgData name="Eric Schueffner" userId="YjkD/eavdwGTfw4ohinkXn8ydSMylogPqeXHIA+zbhU=" providerId="None" clId="Web-{3203A14F-0B16-46E0-9C1A-A879B5DAA8DA}" dt="2026-03-12T23:55:17.780" v="252" actId="20577"/>
          <ac:spMkLst>
            <pc:docMk/>
            <pc:sldMk cId="3559530949" sldId="2147482910"/>
            <ac:spMk id="4" creationId="{9E71465A-809C-21A5-1519-5635482B193B}"/>
          </ac:spMkLst>
        </pc:spChg>
        <pc:picChg chg="add mod">
          <ac:chgData name="Eric Schueffner" userId="YjkD/eavdwGTfw4ohinkXn8ydSMylogPqeXHIA+zbhU=" providerId="None" clId="Web-{3203A14F-0B16-46E0-9C1A-A879B5DAA8DA}" dt="2026-03-12T23:53:42.967" v="200" actId="1076"/>
          <ac:picMkLst>
            <pc:docMk/>
            <pc:sldMk cId="3559530949" sldId="2147482910"/>
            <ac:picMk id="5" creationId="{8177C0FF-D80F-9EBF-1254-BBDB9F33DB89}"/>
          </ac:picMkLst>
        </pc:picChg>
      </pc:sldChg>
    </pc:docChg>
  </pc:docChgLst>
  <pc:docChgLst>
    <pc:chgData name="Michael Mandzuk" userId="sQwueKevGaGZBXUEleAG41dHau9GSEnGtLAAk8DveIk=" providerId="None" clId="Web-{CF68C521-C297-42C1-8998-3296705B188B}"/>
    <pc:docChg chg="modSld">
      <pc:chgData name="Michael Mandzuk" userId="sQwueKevGaGZBXUEleAG41dHau9GSEnGtLAAk8DveIk=" providerId="None" clId="Web-{CF68C521-C297-42C1-8998-3296705B188B}" dt="2026-03-09T22:59:09.799" v="14" actId="20577"/>
      <pc:docMkLst>
        <pc:docMk/>
      </pc:docMkLst>
    </pc:docChg>
  </pc:docChgLst>
  <pc:docChgLst>
    <pc:chgData name="Morgan Hatch" userId="rIqdmptQUgpEksZPKq5kWTdBXSjzC6X2knRP6QWCMIw=" providerId="None" clId="Web-{F3945E62-1BA3-47C8-B2D2-B4EFDAC5112A}"/>
    <pc:docChg chg="modSld">
      <pc:chgData name="Morgan Hatch" userId="rIqdmptQUgpEksZPKq5kWTdBXSjzC6X2knRP6QWCMIw=" providerId="None" clId="Web-{F3945E62-1BA3-47C8-B2D2-B4EFDAC5112A}" dt="2026-03-10T16:43:15.610" v="109" actId="20577"/>
      <pc:docMkLst>
        <pc:docMk/>
      </pc:docMkLst>
    </pc:docChg>
  </pc:docChgLst>
  <pc:docChgLst>
    <pc:chgData name="Brittany R McDonald" userId="182ILz0QlAHOO9E1VxhYKH73KCoVr+BVrFwTcel+7F4=" providerId="None" clId="Web-{11818E15-328E-4CB1-AB4B-44F4746D57B1}"/>
    <pc:docChg chg="modSld">
      <pc:chgData name="Brittany R McDonald" userId="182ILz0QlAHOO9E1VxhYKH73KCoVr+BVrFwTcel+7F4=" providerId="None" clId="Web-{11818E15-328E-4CB1-AB4B-44F4746D57B1}" dt="2026-03-12T22:15:43.693" v="69" actId="20577"/>
      <pc:docMkLst>
        <pc:docMk/>
      </pc:docMkLst>
      <pc:sldChg chg="modSp">
        <pc:chgData name="Brittany R McDonald" userId="182ILz0QlAHOO9E1VxhYKH73KCoVr+BVrFwTcel+7F4=" providerId="None" clId="Web-{11818E15-328E-4CB1-AB4B-44F4746D57B1}" dt="2026-03-12T22:08:29.664" v="16" actId="20577"/>
        <pc:sldMkLst>
          <pc:docMk/>
          <pc:sldMk cId="2898329359" sldId="2147482886"/>
        </pc:sldMkLst>
        <pc:spChg chg="mod">
          <ac:chgData name="Brittany R McDonald" userId="182ILz0QlAHOO9E1VxhYKH73KCoVr+BVrFwTcel+7F4=" providerId="None" clId="Web-{11818E15-328E-4CB1-AB4B-44F4746D57B1}" dt="2026-03-12T22:08:01.336" v="0" actId="20577"/>
          <ac:spMkLst>
            <pc:docMk/>
            <pc:sldMk cId="2898329359" sldId="2147482886"/>
            <ac:spMk id="11" creationId="{57360392-49E6-0C29-370B-6530405EA144}"/>
          </ac:spMkLst>
        </pc:spChg>
        <pc:spChg chg="mod">
          <ac:chgData name="Brittany R McDonald" userId="182ILz0QlAHOO9E1VxhYKH73KCoVr+BVrFwTcel+7F4=" providerId="None" clId="Web-{11818E15-328E-4CB1-AB4B-44F4746D57B1}" dt="2026-03-12T22:08:29.664" v="16" actId="20577"/>
          <ac:spMkLst>
            <pc:docMk/>
            <pc:sldMk cId="2898329359" sldId="2147482886"/>
            <ac:spMk id="20" creationId="{0A19D017-4545-DA84-13E5-8F0E39D75981}"/>
          </ac:spMkLst>
        </pc:spChg>
      </pc:sldChg>
      <pc:sldChg chg="addSp modSp">
        <pc:chgData name="Brittany R McDonald" userId="182ILz0QlAHOO9E1VxhYKH73KCoVr+BVrFwTcel+7F4=" providerId="None" clId="Web-{11818E15-328E-4CB1-AB4B-44F4746D57B1}" dt="2026-03-12T22:09:14.132" v="24" actId="1076"/>
        <pc:sldMkLst>
          <pc:docMk/>
          <pc:sldMk cId="698362681" sldId="2147482887"/>
        </pc:sldMkLst>
        <pc:spChg chg="add mod">
          <ac:chgData name="Brittany R McDonald" userId="182ILz0QlAHOO9E1VxhYKH73KCoVr+BVrFwTcel+7F4=" providerId="None" clId="Web-{11818E15-328E-4CB1-AB4B-44F4746D57B1}" dt="2026-03-12T22:09:14.132" v="24" actId="1076"/>
          <ac:spMkLst>
            <pc:docMk/>
            <pc:sldMk cId="698362681" sldId="2147482887"/>
            <ac:spMk id="3" creationId="{53FA315D-A68C-953B-D54D-73E249627B4D}"/>
          </ac:spMkLst>
        </pc:spChg>
        <pc:spChg chg="mod">
          <ac:chgData name="Brittany R McDonald" userId="182ILz0QlAHOO9E1VxhYKH73KCoVr+BVrFwTcel+7F4=" providerId="None" clId="Web-{11818E15-328E-4CB1-AB4B-44F4746D57B1}" dt="2026-03-12T22:08:34.960" v="17" actId="20577"/>
          <ac:spMkLst>
            <pc:docMk/>
            <pc:sldMk cId="698362681" sldId="2147482887"/>
            <ac:spMk id="4" creationId="{D5BE81CA-C3E9-519C-F2D1-1551DF6F41DB}"/>
          </ac:spMkLst>
        </pc:spChg>
      </pc:sldChg>
      <pc:sldChg chg="modSp">
        <pc:chgData name="Brittany R McDonald" userId="182ILz0QlAHOO9E1VxhYKH73KCoVr+BVrFwTcel+7F4=" providerId="None" clId="Web-{11818E15-328E-4CB1-AB4B-44F4746D57B1}" dt="2026-03-12T22:15:43.693" v="69" actId="20577"/>
        <pc:sldMkLst>
          <pc:docMk/>
          <pc:sldMk cId="2246361009" sldId="2147482889"/>
        </pc:sldMkLst>
        <pc:spChg chg="mod">
          <ac:chgData name="Brittany R McDonald" userId="182ILz0QlAHOO9E1VxhYKH73KCoVr+BVrFwTcel+7F4=" providerId="None" clId="Web-{11818E15-328E-4CB1-AB4B-44F4746D57B1}" dt="2026-03-12T22:15:43.693" v="69" actId="20577"/>
          <ac:spMkLst>
            <pc:docMk/>
            <pc:sldMk cId="2246361009" sldId="2147482889"/>
            <ac:spMk id="7" creationId="{41F3D3F2-6D21-3C75-DF6E-47F8062387AB}"/>
          </ac:spMkLst>
        </pc:spChg>
        <pc:spChg chg="mod">
          <ac:chgData name="Brittany R McDonald" userId="182ILz0QlAHOO9E1VxhYKH73KCoVr+BVrFwTcel+7F4=" providerId="None" clId="Web-{11818E15-328E-4CB1-AB4B-44F4746D57B1}" dt="2026-03-12T22:12:42.398" v="62" actId="20577"/>
          <ac:spMkLst>
            <pc:docMk/>
            <pc:sldMk cId="2246361009" sldId="2147482889"/>
            <ac:spMk id="25" creationId="{538FEC7E-4E15-5FD8-CA11-EC6D8AC883D0}"/>
          </ac:spMkLst>
        </pc:spChg>
      </pc:sldChg>
    </pc:docChg>
  </pc:docChgLst>
  <pc:docChgLst>
    <pc:chgData name="Brittany R McDonald" userId="182ILz0QlAHOO9E1VxhYKH73KCoVr+BVrFwTcel+7F4=" providerId="None" clId="Web-{13CC7F82-6A7F-4FF5-8009-17145054FD7E}"/>
    <pc:docChg chg="addSld modSld modSection">
      <pc:chgData name="Brittany R McDonald" userId="182ILz0QlAHOO9E1VxhYKH73KCoVr+BVrFwTcel+7F4=" providerId="None" clId="Web-{13CC7F82-6A7F-4FF5-8009-17145054FD7E}" dt="2026-03-09T23:22:28.751" v="51" actId="20577"/>
      <pc:docMkLst>
        <pc:docMk/>
      </pc:docMkLst>
      <pc:sldChg chg="modSp">
        <pc:chgData name="Brittany R McDonald" userId="182ILz0QlAHOO9E1VxhYKH73KCoVr+BVrFwTcel+7F4=" providerId="None" clId="Web-{13CC7F82-6A7F-4FF5-8009-17145054FD7E}" dt="2026-03-09T23:22:12.188" v="49" actId="20577"/>
        <pc:sldMkLst>
          <pc:docMk/>
          <pc:sldMk cId="4231928049" sldId="267"/>
        </pc:sldMkLst>
        <pc:spChg chg="mod">
          <ac:chgData name="Brittany R McDonald" userId="182ILz0QlAHOO9E1VxhYKH73KCoVr+BVrFwTcel+7F4=" providerId="None" clId="Web-{13CC7F82-6A7F-4FF5-8009-17145054FD7E}" dt="2026-03-09T23:22:12.188" v="49" actId="20577"/>
          <ac:spMkLst>
            <pc:docMk/>
            <pc:sldMk cId="4231928049" sldId="267"/>
            <ac:spMk id="4" creationId="{13923E9E-B63C-E87E-A001-0A00AA0D2A77}"/>
          </ac:spMkLst>
        </pc:spChg>
      </pc:sldChg>
    </pc:docChg>
  </pc:docChgLst>
  <pc:docChgLst>
    <pc:chgData name="Eric Schueffner" userId="YjkD/eavdwGTfw4ohinkXn8ydSMylogPqeXHIA+zbhU=" providerId="None" clId="Web-{A95516AC-B010-4C27-8EA8-4508B5E1F25B}"/>
    <pc:docChg chg="modSld">
      <pc:chgData name="Eric Schueffner" userId="YjkD/eavdwGTfw4ohinkXn8ydSMylogPqeXHIA+zbhU=" providerId="None" clId="Web-{A95516AC-B010-4C27-8EA8-4508B5E1F25B}" dt="2026-03-12T23:56:40.579" v="2" actId="20577"/>
      <pc:docMkLst>
        <pc:docMk/>
      </pc:docMkLst>
      <pc:sldChg chg="modSp">
        <pc:chgData name="Eric Schueffner" userId="YjkD/eavdwGTfw4ohinkXn8ydSMylogPqeXHIA+zbhU=" providerId="None" clId="Web-{A95516AC-B010-4C27-8EA8-4508B5E1F25B}" dt="2026-03-12T23:56:40.579" v="2" actId="20577"/>
        <pc:sldMkLst>
          <pc:docMk/>
          <pc:sldMk cId="3559530949" sldId="2147482910"/>
        </pc:sldMkLst>
        <pc:spChg chg="mod">
          <ac:chgData name="Eric Schueffner" userId="YjkD/eavdwGTfw4ohinkXn8ydSMylogPqeXHIA+zbhU=" providerId="None" clId="Web-{A95516AC-B010-4C27-8EA8-4508B5E1F25B}" dt="2026-03-12T23:56:40.579" v="2" actId="20577"/>
          <ac:spMkLst>
            <pc:docMk/>
            <pc:sldMk cId="3559530949" sldId="2147482910"/>
            <ac:spMk id="4" creationId="{9E71465A-809C-21A5-1519-5635482B193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2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2E3BBE8-A10C-4244-AB6F-2724409C81ED}" type="datetimeFigureOut">
              <a:rPr lang="en-US" smtClean="0"/>
              <a:t>3/1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9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2D7F85-C600-4E05-B9C3-8A2577CE8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179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882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2983C0-B674-251F-DF73-8C82EF933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86332B-433C-259A-B0B2-BE244A0B85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0B867F-D7E6-87A0-B8C5-87DFD05E63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AFF85E-51B3-C7AD-DEB9-47C7462423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4080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58E8BE-95A6-CB0A-C819-342E882B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94C72-3506-DF64-A8A0-02DF385395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5F493C-EAD1-6EE5-B2FB-033C5BB5B5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D74991-3E12-B3A8-2C29-FE197E7EF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5151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180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17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2D7F85-C600-4E05-B9C3-8A2577CE81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44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37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769294-7E98-4ECA-20E6-DEB9645BF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3FBB71-11B4-6E9E-4CB5-C6DA30D14B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A5A312-214C-67EB-7A34-371C791C48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163375-9334-61AD-2A56-D6D07E630D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679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867F6-D660-CEFC-56C6-A9DE2E7CA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5D3507-A032-DC90-26D4-E201B44A39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CAA841-2C01-1723-C0D9-1E77806F73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D66948-DB09-1ACA-1749-36980F62B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19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458D0-FA23-534C-1FC2-5E609E25A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6E49B8-F520-4ABB-451B-F0A3960C1A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771F4A-70B2-9FA0-2D15-A84E5B7FB9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D72F43-B12C-A851-C5B9-0ED8CCD400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4226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03D27-2652-22A8-3D26-C9F9574931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170512-D43C-A818-9295-ED4E93BC43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3FB997-9278-6F45-14BB-7FCE7F58D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8EA1B-632B-2DA0-DBB7-1CAABFED2D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3023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95D57-6E3E-537F-2BA5-5901D64324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5995EA-F601-A31A-31D0-6421B20FBA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A214CF-6A99-3666-4147-3C50052F64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C2E12-FBFC-B75B-765C-3746F982FC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8897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195E1-51E9-D2E0-75BB-59E148AA2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4C8B99-6101-771E-6FA3-0A8BA63244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C92FF0-48AC-914E-C956-3F8CA97ED5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988A8-6BB9-86EA-1CCB-00404D7EA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D7F85-C600-4E05-B9C3-8A2577CE811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387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19" Type="http://schemas.openxmlformats.org/officeDocument/2006/relationships/image" Target="../media/image37.svg"/><Relationship Id="rId4" Type="http://schemas.openxmlformats.org/officeDocument/2006/relationships/image" Target="../media/image22.png"/><Relationship Id="rId9" Type="http://schemas.openxmlformats.org/officeDocument/2006/relationships/image" Target="../media/image27.svg"/><Relationship Id="rId14" Type="http://schemas.openxmlformats.org/officeDocument/2006/relationships/image" Target="../media/image32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7696199" y="0"/>
            <a:ext cx="4572003" cy="6858000"/>
            <a:chOff x="0" y="0"/>
            <a:chExt cx="4572002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4572002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/>
                <a:t>v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953" r="49988"/>
            <a:stretch/>
          </p:blipFill>
          <p:spPr>
            <a:xfrm>
              <a:off x="0" y="6031832"/>
              <a:ext cx="4572001" cy="826168"/>
            </a:xfrm>
            <a:custGeom>
              <a:avLst/>
              <a:gdLst>
                <a:gd name="connsiteX0" fmla="*/ 0 w 4572001"/>
                <a:gd name="connsiteY0" fmla="*/ 0 h 6858000"/>
                <a:gd name="connsiteX1" fmla="*/ 4572001 w 4572001"/>
                <a:gd name="connsiteY1" fmla="*/ 0 h 6858000"/>
                <a:gd name="connsiteX2" fmla="*/ 4572001 w 4572001"/>
                <a:gd name="connsiteY2" fmla="*/ 6858000 h 6858000"/>
                <a:gd name="connsiteX3" fmla="*/ 0 w 4572001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1" h="6858000">
                  <a:moveTo>
                    <a:pt x="0" y="0"/>
                  </a:moveTo>
                  <a:lnTo>
                    <a:pt x="4572001" y="0"/>
                  </a:lnTo>
                  <a:lnTo>
                    <a:pt x="4572001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9795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1122363"/>
            <a:ext cx="7716253" cy="2387600"/>
          </a:xfrm>
        </p:spPr>
        <p:txBody>
          <a:bodyPr anchor="b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602038"/>
            <a:ext cx="7716253" cy="1655762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Oregon State University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8761" y="4741560"/>
            <a:ext cx="1165484" cy="121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186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19"/>
          <a:stretch/>
        </p:blipFill>
        <p:spPr>
          <a:xfrm>
            <a:off x="-430" y="10633"/>
            <a:ext cx="12192431" cy="6847367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2194" y="0"/>
            <a:ext cx="12189807" cy="2923082"/>
            <a:chOff x="0" y="0"/>
            <a:chExt cx="9141806" cy="2923082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9141806" cy="29230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377"/>
            <a:stretch>
              <a:fillRect/>
            </a:stretch>
          </p:blipFill>
          <p:spPr>
            <a:xfrm>
              <a:off x="0" y="0"/>
              <a:ext cx="9141806" cy="2923082"/>
            </a:xfrm>
            <a:custGeom>
              <a:avLst/>
              <a:gdLst>
                <a:gd name="connsiteX0" fmla="*/ 0 w 9141806"/>
                <a:gd name="connsiteY0" fmla="*/ 0 h 2923082"/>
                <a:gd name="connsiteX1" fmla="*/ 9141806 w 9141806"/>
                <a:gd name="connsiteY1" fmla="*/ 0 h 2923082"/>
                <a:gd name="connsiteX2" fmla="*/ 9141806 w 9141806"/>
                <a:gd name="connsiteY2" fmla="*/ 2923082 h 2923082"/>
                <a:gd name="connsiteX3" fmla="*/ 0 w 9141806"/>
                <a:gd name="connsiteY3" fmla="*/ 2923082 h 2923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1806" h="2923082">
                  <a:moveTo>
                    <a:pt x="0" y="0"/>
                  </a:moveTo>
                  <a:lnTo>
                    <a:pt x="9141806" y="0"/>
                  </a:lnTo>
                  <a:lnTo>
                    <a:pt x="9141806" y="2923082"/>
                  </a:lnTo>
                  <a:lnTo>
                    <a:pt x="0" y="2923082"/>
                  </a:lnTo>
                  <a:close/>
                </a:path>
              </a:pathLst>
            </a:custGeom>
          </p:spPr>
        </p:pic>
      </p:grpSp>
      <p:sp>
        <p:nvSpPr>
          <p:cNvPr id="9" name="Rectangle 8"/>
          <p:cNvSpPr/>
          <p:nvPr userDrawn="1"/>
        </p:nvSpPr>
        <p:spPr>
          <a:xfrm>
            <a:off x="723900" y="723900"/>
            <a:ext cx="10262216" cy="3013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343738" y="958880"/>
            <a:ext cx="8855471" cy="56919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Oval 9"/>
          <p:cNvSpPr>
            <a:spLocks noChangeAspect="1"/>
          </p:cNvSpPr>
          <p:nvPr userDrawn="1"/>
        </p:nvSpPr>
        <p:spPr>
          <a:xfrm>
            <a:off x="10592663" y="958878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734057" y="1100271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343026" y="1604965"/>
            <a:ext cx="8856663" cy="1957387"/>
          </a:xfrm>
        </p:spPr>
        <p:txBody>
          <a:bodyPr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>
                <a:solidFill>
                  <a:schemeClr val="bg1"/>
                </a:solidFill>
                <a:latin typeface="+mn-lt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Picture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16" y="2904955"/>
            <a:ext cx="12192431" cy="3970678"/>
          </a:xfrm>
          <a:custGeom>
            <a:avLst/>
            <a:gdLst>
              <a:gd name="connsiteX0" fmla="*/ 0 w 12192000"/>
              <a:gd name="connsiteY0" fmla="*/ 983853 h 3935412"/>
              <a:gd name="connsiteX1" fmla="*/ 983853 w 12192000"/>
              <a:gd name="connsiteY1" fmla="*/ 983853 h 3935412"/>
              <a:gd name="connsiteX2" fmla="*/ 983853 w 12192000"/>
              <a:gd name="connsiteY2" fmla="*/ 0 h 3935412"/>
              <a:gd name="connsiteX3" fmla="*/ 11208147 w 12192000"/>
              <a:gd name="connsiteY3" fmla="*/ 0 h 3935412"/>
              <a:gd name="connsiteX4" fmla="*/ 11208147 w 12192000"/>
              <a:gd name="connsiteY4" fmla="*/ 983853 h 3935412"/>
              <a:gd name="connsiteX5" fmla="*/ 12192000 w 12192000"/>
              <a:gd name="connsiteY5" fmla="*/ 983853 h 3935412"/>
              <a:gd name="connsiteX6" fmla="*/ 12192000 w 12192000"/>
              <a:gd name="connsiteY6" fmla="*/ 2951559 h 3935412"/>
              <a:gd name="connsiteX7" fmla="*/ 11208147 w 12192000"/>
              <a:gd name="connsiteY7" fmla="*/ 2951559 h 3935412"/>
              <a:gd name="connsiteX8" fmla="*/ 11208147 w 12192000"/>
              <a:gd name="connsiteY8" fmla="*/ 3935412 h 3935412"/>
              <a:gd name="connsiteX9" fmla="*/ 983853 w 12192000"/>
              <a:gd name="connsiteY9" fmla="*/ 3935412 h 3935412"/>
              <a:gd name="connsiteX10" fmla="*/ 983853 w 12192000"/>
              <a:gd name="connsiteY10" fmla="*/ 2951559 h 3935412"/>
              <a:gd name="connsiteX11" fmla="*/ 0 w 12192000"/>
              <a:gd name="connsiteY11" fmla="*/ 2951559 h 3935412"/>
              <a:gd name="connsiteX12" fmla="*/ 0 w 12192000"/>
              <a:gd name="connsiteY12" fmla="*/ 983853 h 3935412"/>
              <a:gd name="connsiteX0" fmla="*/ 10633 w 12192000"/>
              <a:gd name="connsiteY0" fmla="*/ 0 h 3940387"/>
              <a:gd name="connsiteX1" fmla="*/ 983853 w 12192000"/>
              <a:gd name="connsiteY1" fmla="*/ 988828 h 3940387"/>
              <a:gd name="connsiteX2" fmla="*/ 983853 w 12192000"/>
              <a:gd name="connsiteY2" fmla="*/ 4975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7407 w 12192000"/>
              <a:gd name="connsiteY1" fmla="*/ 0 h 3940387"/>
              <a:gd name="connsiteX2" fmla="*/ 983853 w 12192000"/>
              <a:gd name="connsiteY2" fmla="*/ 4975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7407 w 12192000"/>
              <a:gd name="connsiteY1" fmla="*/ 0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10632 h 3951019"/>
              <a:gd name="connsiteX1" fmla="*/ 728672 w 12192000"/>
              <a:gd name="connsiteY1" fmla="*/ 0 h 3951019"/>
              <a:gd name="connsiteX2" fmla="*/ 718039 w 12192000"/>
              <a:gd name="connsiteY2" fmla="*/ 834314 h 3951019"/>
              <a:gd name="connsiteX3" fmla="*/ 11208147 w 12192000"/>
              <a:gd name="connsiteY3" fmla="*/ 15607 h 3951019"/>
              <a:gd name="connsiteX4" fmla="*/ 11208147 w 12192000"/>
              <a:gd name="connsiteY4" fmla="*/ 999460 h 3951019"/>
              <a:gd name="connsiteX5" fmla="*/ 12192000 w 12192000"/>
              <a:gd name="connsiteY5" fmla="*/ 999460 h 3951019"/>
              <a:gd name="connsiteX6" fmla="*/ 12192000 w 12192000"/>
              <a:gd name="connsiteY6" fmla="*/ 2967166 h 3951019"/>
              <a:gd name="connsiteX7" fmla="*/ 11208147 w 12192000"/>
              <a:gd name="connsiteY7" fmla="*/ 2967166 h 3951019"/>
              <a:gd name="connsiteX8" fmla="*/ 11208147 w 12192000"/>
              <a:gd name="connsiteY8" fmla="*/ 3951019 h 3951019"/>
              <a:gd name="connsiteX9" fmla="*/ 983853 w 12192000"/>
              <a:gd name="connsiteY9" fmla="*/ 3951019 h 3951019"/>
              <a:gd name="connsiteX10" fmla="*/ 983853 w 12192000"/>
              <a:gd name="connsiteY10" fmla="*/ 2967166 h 3951019"/>
              <a:gd name="connsiteX11" fmla="*/ 0 w 12192000"/>
              <a:gd name="connsiteY11" fmla="*/ 2967166 h 3951019"/>
              <a:gd name="connsiteX12" fmla="*/ 10633 w 12192000"/>
              <a:gd name="connsiteY12" fmla="*/ 10632 h 3951019"/>
              <a:gd name="connsiteX0" fmla="*/ 10633 w 12192000"/>
              <a:gd name="connsiteY0" fmla="*/ 0 h 3940387"/>
              <a:gd name="connsiteX1" fmla="*/ 718039 w 12192000"/>
              <a:gd name="connsiteY1" fmla="*/ 10633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0622 w 12192000"/>
              <a:gd name="connsiteY1" fmla="*/ 10633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18039 w 12192000"/>
              <a:gd name="connsiteY1" fmla="*/ 1925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18039 w 12192000"/>
              <a:gd name="connsiteY1" fmla="*/ 1925 h 3940387"/>
              <a:gd name="connsiteX2" fmla="*/ 718039 w 12192000"/>
              <a:gd name="connsiteY2" fmla="*/ 823682 h 3940387"/>
              <a:gd name="connsiteX3" fmla="*/ 10999141 w 12192000"/>
              <a:gd name="connsiteY3" fmla="*/ 806163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9141 w 12192000"/>
              <a:gd name="connsiteY3" fmla="*/ 818821 h 3953045"/>
              <a:gd name="connsiteX4" fmla="*/ 10999141 w 12192000"/>
              <a:gd name="connsiteY4" fmla="*/ 0 h 3953045"/>
              <a:gd name="connsiteX5" fmla="*/ 12192000 w 12192000"/>
              <a:gd name="connsiteY5" fmla="*/ 1001486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0432 w 12192000"/>
              <a:gd name="connsiteY3" fmla="*/ 827529 h 3953045"/>
              <a:gd name="connsiteX4" fmla="*/ 10999141 w 12192000"/>
              <a:gd name="connsiteY4" fmla="*/ 0 h 3953045"/>
              <a:gd name="connsiteX5" fmla="*/ 12192000 w 12192000"/>
              <a:gd name="connsiteY5" fmla="*/ 1001486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0432 w 12192000"/>
              <a:gd name="connsiteY3" fmla="*/ 827529 h 3953045"/>
              <a:gd name="connsiteX4" fmla="*/ 10999141 w 12192000"/>
              <a:gd name="connsiteY4" fmla="*/ 0 h 3953045"/>
              <a:gd name="connsiteX5" fmla="*/ 12192000 w 12192000"/>
              <a:gd name="connsiteY5" fmla="*/ 17418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216"/>
              <a:gd name="connsiteY0" fmla="*/ 12658 h 3961969"/>
              <a:gd name="connsiteX1" fmla="*/ 718039 w 12192216"/>
              <a:gd name="connsiteY1" fmla="*/ 14583 h 3961969"/>
              <a:gd name="connsiteX2" fmla="*/ 718039 w 12192216"/>
              <a:gd name="connsiteY2" fmla="*/ 836340 h 3961969"/>
              <a:gd name="connsiteX3" fmla="*/ 10990432 w 12192216"/>
              <a:gd name="connsiteY3" fmla="*/ 827529 h 3961969"/>
              <a:gd name="connsiteX4" fmla="*/ 10999141 w 12192216"/>
              <a:gd name="connsiteY4" fmla="*/ 0 h 3961969"/>
              <a:gd name="connsiteX5" fmla="*/ 12192000 w 12192216"/>
              <a:gd name="connsiteY5" fmla="*/ 17418 h 3961969"/>
              <a:gd name="connsiteX6" fmla="*/ 12192000 w 12192216"/>
              <a:gd name="connsiteY6" fmla="*/ 2969192 h 3961969"/>
              <a:gd name="connsiteX7" fmla="*/ 12192216 w 12192216"/>
              <a:gd name="connsiteY7" fmla="*/ 3961969 h 3961969"/>
              <a:gd name="connsiteX8" fmla="*/ 11208147 w 12192216"/>
              <a:gd name="connsiteY8" fmla="*/ 3953045 h 3961969"/>
              <a:gd name="connsiteX9" fmla="*/ 983853 w 12192216"/>
              <a:gd name="connsiteY9" fmla="*/ 3953045 h 3961969"/>
              <a:gd name="connsiteX10" fmla="*/ 983853 w 12192216"/>
              <a:gd name="connsiteY10" fmla="*/ 2969192 h 3961969"/>
              <a:gd name="connsiteX11" fmla="*/ 0 w 12192216"/>
              <a:gd name="connsiteY11" fmla="*/ 2969192 h 3961969"/>
              <a:gd name="connsiteX12" fmla="*/ 10633 w 12192216"/>
              <a:gd name="connsiteY12" fmla="*/ 12658 h 3961969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99356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99356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81939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431" h="3970678">
                <a:moveTo>
                  <a:pt x="10848" y="12658"/>
                </a:moveTo>
                <a:lnTo>
                  <a:pt x="718254" y="14583"/>
                </a:lnTo>
                <a:lnTo>
                  <a:pt x="718254" y="836340"/>
                </a:lnTo>
                <a:lnTo>
                  <a:pt x="10990647" y="827529"/>
                </a:lnTo>
                <a:cubicBezTo>
                  <a:pt x="10987744" y="551686"/>
                  <a:pt x="10984842" y="275843"/>
                  <a:pt x="10981939" y="0"/>
                </a:cubicBezTo>
                <a:lnTo>
                  <a:pt x="12192215" y="17418"/>
                </a:lnTo>
                <a:lnTo>
                  <a:pt x="12192215" y="2969192"/>
                </a:lnTo>
                <a:lnTo>
                  <a:pt x="12192431" y="3961969"/>
                </a:lnTo>
                <a:lnTo>
                  <a:pt x="11208362" y="3953045"/>
                </a:lnTo>
                <a:lnTo>
                  <a:pt x="984068" y="3953045"/>
                </a:lnTo>
                <a:lnTo>
                  <a:pt x="0" y="3970678"/>
                </a:lnTo>
                <a:cubicBezTo>
                  <a:pt x="72" y="3636849"/>
                  <a:pt x="143" y="3303021"/>
                  <a:pt x="215" y="2969192"/>
                </a:cubicBezTo>
                <a:cubicBezTo>
                  <a:pt x="3759" y="1983681"/>
                  <a:pt x="7304" y="998169"/>
                  <a:pt x="10848" y="12658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410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1656238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955"/>
          <a:stretch/>
        </p:blipFill>
        <p:spPr>
          <a:xfrm>
            <a:off x="9135292" y="1671262"/>
            <a:ext cx="3049621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12" name="Oval 11"/>
          <p:cNvSpPr>
            <a:spLocks noChangeAspect="1"/>
          </p:cNvSpPr>
          <p:nvPr userDrawn="1"/>
        </p:nvSpPr>
        <p:spPr>
          <a:xfrm>
            <a:off x="623481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64874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18309" y="3189027"/>
            <a:ext cx="3218051" cy="344488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17946" y="3663823"/>
            <a:ext cx="3226565" cy="2898775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4482355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4623749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483841" y="3180590"/>
            <a:ext cx="3191743" cy="344488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482355" y="3663083"/>
            <a:ext cx="3226565" cy="2898775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8339863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8481257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355641" y="3189397"/>
            <a:ext cx="321805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355279" y="3664193"/>
            <a:ext cx="3226565" cy="2898775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91199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1656238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955"/>
          <a:stretch/>
        </p:blipFill>
        <p:spPr>
          <a:xfrm>
            <a:off x="9135292" y="1671262"/>
            <a:ext cx="3049621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623481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64874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18309" y="3189027"/>
            <a:ext cx="321805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17946" y="3663823"/>
            <a:ext cx="3226565" cy="2898775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4482355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4623749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483841" y="3180590"/>
            <a:ext cx="3191743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482355" y="3663083"/>
            <a:ext cx="3226565" cy="2898775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8339863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8481257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355641" y="3189397"/>
            <a:ext cx="3218051" cy="344488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355279" y="3664193"/>
            <a:ext cx="3226565" cy="2898775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2379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6119076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838"/>
          <a:stretch/>
        </p:blipFill>
        <p:spPr>
          <a:xfrm>
            <a:off x="9135292" y="6134100"/>
            <a:ext cx="3060253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20597" y="2016343"/>
            <a:ext cx="321805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0234" y="2491137"/>
            <a:ext cx="3226565" cy="3356400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486129" y="2007906"/>
            <a:ext cx="3191743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484643" y="2490397"/>
            <a:ext cx="3226565" cy="33564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357929" y="2016713"/>
            <a:ext cx="321805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357567" y="2491507"/>
            <a:ext cx="3226565" cy="33564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52622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6119076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20597" y="2016343"/>
            <a:ext cx="321805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0234" y="2491137"/>
            <a:ext cx="3226565" cy="3356400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486129" y="2007906"/>
            <a:ext cx="3191743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Header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484643" y="2490397"/>
            <a:ext cx="3226565" cy="33564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357929" y="2016713"/>
            <a:ext cx="3218051" cy="344488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357567" y="2491507"/>
            <a:ext cx="3226565" cy="33564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838"/>
          <a:stretch/>
        </p:blipFill>
        <p:spPr>
          <a:xfrm>
            <a:off x="9145924" y="6134100"/>
            <a:ext cx="3060253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3627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6119076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838"/>
          <a:stretch/>
        </p:blipFill>
        <p:spPr>
          <a:xfrm>
            <a:off x="9135292" y="6134100"/>
            <a:ext cx="3060253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623481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64874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3636" y="2962642"/>
            <a:ext cx="5078455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33273" y="3437436"/>
            <a:ext cx="5078864" cy="2484900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6507867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6649261" y="2090348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508231" y="2962642"/>
            <a:ext cx="506546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507867" y="3437436"/>
            <a:ext cx="5078864" cy="24849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9770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44"/>
          <a:stretch>
            <a:fillRect/>
          </a:stretch>
        </p:blipFill>
        <p:spPr>
          <a:xfrm>
            <a:off x="1" y="6119076"/>
            <a:ext cx="9141807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89444" r="58838"/>
          <a:stretch/>
        </p:blipFill>
        <p:spPr>
          <a:xfrm>
            <a:off x="9145924" y="6134100"/>
            <a:ext cx="3060253" cy="723900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310" y="365125"/>
            <a:ext cx="10955383" cy="1291113"/>
          </a:xfrm>
        </p:spPr>
        <p:txBody>
          <a:bodyPr>
            <a:normAutofit/>
          </a:bodyPr>
          <a:lstStyle>
            <a:lvl1pPr>
              <a:defRPr sz="2800" b="1" i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623481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64874" y="2084905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3636" y="2962642"/>
            <a:ext cx="5078455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33273" y="3437436"/>
            <a:ext cx="5078864" cy="2484900"/>
          </a:xfrm>
        </p:spPr>
        <p:txBody>
          <a:bodyPr>
            <a:no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6507867" y="1943512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6649261" y="2090348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508231" y="2962642"/>
            <a:ext cx="5065461" cy="344488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507867" y="3437436"/>
            <a:ext cx="5078864" cy="2484900"/>
          </a:xfrm>
        </p:spPr>
        <p:txBody>
          <a:bodyPr>
            <a:no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340911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-319" r="58838" b="5"/>
          <a:stretch/>
        </p:blipFill>
        <p:spPr>
          <a:xfrm>
            <a:off x="9135292" y="-21265"/>
            <a:ext cx="3060253" cy="6879265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5" b="-1"/>
          <a:stretch/>
        </p:blipFill>
        <p:spPr>
          <a:xfrm>
            <a:off x="1" y="-21265"/>
            <a:ext cx="9141807" cy="6864241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9" name="Rectangle 8"/>
          <p:cNvSpPr/>
          <p:nvPr userDrawn="1"/>
        </p:nvSpPr>
        <p:spPr>
          <a:xfrm>
            <a:off x="2094613" y="1010768"/>
            <a:ext cx="10097387" cy="4823927"/>
          </a:xfrm>
          <a:prstGeom prst="rect">
            <a:avLst/>
          </a:prstGeom>
          <a:solidFill>
            <a:srgbClr val="DC4405"/>
          </a:solidFill>
          <a:ln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F4F0F-2CBB-394C-8D28-1DF13077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416" y="2813879"/>
            <a:ext cx="7326313" cy="1263176"/>
          </a:xfrm>
        </p:spPr>
        <p:txBody>
          <a:bodyPr/>
          <a:lstStyle>
            <a:lvl1pPr>
              <a:defRPr sz="2800" b="1" i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344781" y="1813113"/>
            <a:ext cx="3265715" cy="3265715"/>
          </a:xfrm>
          <a:prstGeom prst="ellipse">
            <a:avLst/>
          </a:prstGeom>
          <a:solidFill>
            <a:srgbClr val="DC4405"/>
          </a:solidFill>
          <a:ln w="85725" cmpd="sng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61237" y="2329567"/>
            <a:ext cx="2231800" cy="223180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Icon image</a:t>
            </a:r>
          </a:p>
        </p:txBody>
      </p:sp>
    </p:spTree>
    <p:extLst>
      <p:ext uri="{BB962C8B-B14F-4D97-AF65-F5344CB8AC3E}">
        <p14:creationId xmlns:p14="http://schemas.microsoft.com/office/powerpoint/2010/main" val="1487308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6" t="-319" r="58722" b="5"/>
          <a:stretch/>
        </p:blipFill>
        <p:spPr>
          <a:xfrm>
            <a:off x="9145922" y="-21265"/>
            <a:ext cx="3070889" cy="6879265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5" b="-1"/>
          <a:stretch/>
        </p:blipFill>
        <p:spPr>
          <a:xfrm>
            <a:off x="-4" y="-21265"/>
            <a:ext cx="9141807" cy="6864241"/>
          </a:xfrm>
          <a:custGeom>
            <a:avLst/>
            <a:gdLst>
              <a:gd name="connsiteX0" fmla="*/ 0 w 9141806"/>
              <a:gd name="connsiteY0" fmla="*/ 0 h 723900"/>
              <a:gd name="connsiteX1" fmla="*/ 9141806 w 9141806"/>
              <a:gd name="connsiteY1" fmla="*/ 0 h 723900"/>
              <a:gd name="connsiteX2" fmla="*/ 9141806 w 9141806"/>
              <a:gd name="connsiteY2" fmla="*/ 723900 h 723900"/>
              <a:gd name="connsiteX3" fmla="*/ 0 w 9141806"/>
              <a:gd name="connsiteY3" fmla="*/ 72390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1806" h="723900">
                <a:moveTo>
                  <a:pt x="0" y="0"/>
                </a:moveTo>
                <a:lnTo>
                  <a:pt x="9141806" y="0"/>
                </a:lnTo>
                <a:lnTo>
                  <a:pt x="9141806" y="723900"/>
                </a:lnTo>
                <a:lnTo>
                  <a:pt x="0" y="723900"/>
                </a:lnTo>
                <a:close/>
              </a:path>
            </a:pathLst>
          </a:custGeom>
        </p:spPr>
      </p:pic>
      <p:sp>
        <p:nvSpPr>
          <p:cNvPr id="9" name="Rectangle 8"/>
          <p:cNvSpPr/>
          <p:nvPr userDrawn="1"/>
        </p:nvSpPr>
        <p:spPr>
          <a:xfrm>
            <a:off x="2094613" y="998893"/>
            <a:ext cx="10097387" cy="4823927"/>
          </a:xfrm>
          <a:prstGeom prst="rect">
            <a:avLst/>
          </a:prstGeom>
          <a:solidFill>
            <a:srgbClr val="DC4405"/>
          </a:solidFill>
          <a:ln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D3C989-1309-994B-B24D-52010CD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5548" y="2893321"/>
            <a:ext cx="7326315" cy="1104292"/>
          </a:xfrm>
        </p:spPr>
        <p:txBody>
          <a:bodyPr>
            <a:normAutofit/>
          </a:bodyPr>
          <a:lstStyle>
            <a:lvl1pPr>
              <a:defRPr sz="2800" b="1" i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344781" y="1813113"/>
            <a:ext cx="3265715" cy="3265715"/>
          </a:xfrm>
          <a:prstGeom prst="ellipse">
            <a:avLst/>
          </a:prstGeom>
          <a:solidFill>
            <a:srgbClr val="DC4405"/>
          </a:solidFill>
          <a:ln w="85725" cmpd="sng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61237" y="2329567"/>
            <a:ext cx="2231800" cy="223180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Icon image</a:t>
            </a:r>
          </a:p>
        </p:txBody>
      </p:sp>
    </p:spTree>
    <p:extLst>
      <p:ext uri="{BB962C8B-B14F-4D97-AF65-F5344CB8AC3E}">
        <p14:creationId xmlns:p14="http://schemas.microsoft.com/office/powerpoint/2010/main" val="41736475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01478-0708-F548-B1EB-39A1F9685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349" y="1875092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683523"/>
            <a:ext cx="9112251" cy="1644003"/>
          </a:xfrm>
        </p:spPr>
        <p:txBody>
          <a:bodyPr anchor="ctr" anchorCtr="1">
            <a:norm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/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latin typeface="+mn-lt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/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/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07762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081"/>
          <a:stretch>
            <a:fillRect/>
          </a:stretch>
        </p:blipFill>
        <p:spPr>
          <a:xfrm>
            <a:off x="2" y="0"/>
            <a:ext cx="723901" cy="6858000"/>
          </a:xfrm>
          <a:custGeom>
            <a:avLst/>
            <a:gdLst>
              <a:gd name="connsiteX0" fmla="*/ 0 w 723901"/>
              <a:gd name="connsiteY0" fmla="*/ 0 h 6858000"/>
              <a:gd name="connsiteX1" fmla="*/ 723901 w 723901"/>
              <a:gd name="connsiteY1" fmla="*/ 0 h 6858000"/>
              <a:gd name="connsiteX2" fmla="*/ 723901 w 723901"/>
              <a:gd name="connsiteY2" fmla="*/ 6858000 h 6858000"/>
              <a:gd name="connsiteX3" fmla="*/ 0 w 7239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901" h="6858000">
                <a:moveTo>
                  <a:pt x="0" y="0"/>
                </a:moveTo>
                <a:lnTo>
                  <a:pt x="723901" y="0"/>
                </a:lnTo>
                <a:lnTo>
                  <a:pt x="72390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Oval 7"/>
          <p:cNvSpPr>
            <a:spLocks noChangeAspect="1"/>
          </p:cNvSpPr>
          <p:nvPr userDrawn="1"/>
        </p:nvSpPr>
        <p:spPr>
          <a:xfrm>
            <a:off x="479893" y="512636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4237" y="658628"/>
            <a:ext cx="9879563" cy="494927"/>
          </a:xfrm>
        </p:spPr>
        <p:txBody>
          <a:bodyPr>
            <a:normAutofit/>
          </a:bodyPr>
          <a:lstStyle>
            <a:lvl1pPr>
              <a:defRPr sz="28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16689" y="658626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474237" y="1380931"/>
            <a:ext cx="9879564" cy="5187820"/>
          </a:xfrm>
        </p:spPr>
        <p:txBody>
          <a:bodyPr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1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37146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71F63B3-6FE0-3D4F-9AB1-C16F92155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349" y="1875092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683523"/>
            <a:ext cx="9112251" cy="1644003"/>
          </a:xfrm>
        </p:spPr>
        <p:txBody>
          <a:bodyPr anchor="ctr" anchorCtr="1">
            <a:norm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solidFill>
                  <a:schemeClr val="bg1"/>
                </a:solidFill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solidFill>
                  <a:schemeClr val="bg1"/>
                </a:solidFill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solidFill>
                  <a:schemeClr val="bg1"/>
                </a:solidFill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54712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B34C4C1-9B17-BE4B-864B-32014387B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2929" y="1912357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720788"/>
            <a:ext cx="9112251" cy="1606738"/>
          </a:xfrm>
        </p:spPr>
        <p:txBody>
          <a:bodyPr anchor="ctr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685783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aseline="0">
                <a:latin typeface="+mn-lt"/>
              </a:defRPr>
            </a:lvl2pPr>
            <a:lvl3pPr marL="1142971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1600160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/>
            </a:lvl5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cond level</a:t>
            </a:r>
          </a:p>
          <a:p>
            <a: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160" marR="0" lvl="3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14445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BF70703-6BF1-C845-A5DA-3580FFC5E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349" y="1910830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761861"/>
            <a:ext cx="9112251" cy="1565664"/>
          </a:xfrm>
        </p:spPr>
        <p:txBody>
          <a:bodyPr anchor="ctr" anchorCtr="1">
            <a:norm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solidFill>
                  <a:schemeClr val="bg1"/>
                </a:solidFill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solidFill>
                  <a:schemeClr val="bg1"/>
                </a:solidFill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solidFill>
                  <a:schemeClr val="bg1"/>
                </a:solidFill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</a:defRPr>
            </a:lvl5pPr>
          </a:lstStyle>
          <a:p>
            <a:pPr marL="285744" marR="0" lvl="0" indent="-28574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C4405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25495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D989875-230F-E04E-A996-BB83824C1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2929" y="1912357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758054"/>
            <a:ext cx="9112251" cy="1569473"/>
          </a:xfrm>
        </p:spPr>
        <p:txBody>
          <a:bodyPr anchor="ctr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685783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aseline="0">
                <a:latin typeface="+mn-lt"/>
              </a:defRPr>
            </a:lvl2pPr>
            <a:lvl3pPr marL="1142971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1600160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/>
            </a:lvl5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cond level</a:t>
            </a:r>
          </a:p>
          <a:p>
            <a: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160" marR="0" lvl="3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06808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905068" y="1357959"/>
            <a:ext cx="10407975" cy="32793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 userDrawn="1"/>
        </p:nvSpPr>
        <p:spPr>
          <a:xfrm>
            <a:off x="5715602" y="1088184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5824362" y="1088185"/>
            <a:ext cx="56938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b="1">
                <a:solidFill>
                  <a:schemeClr val="tx1"/>
                </a:solidFill>
                <a:latin typeface="Times" charset="0"/>
                <a:ea typeface="Times" charset="0"/>
                <a:cs typeface="Times" charset="0"/>
              </a:rPr>
              <a:t>“</a:t>
            </a:r>
            <a:endParaRPr lang="en-US" sz="60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5FBC4E-4719-5B44-AFFB-ED854845F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349" y="1892169"/>
            <a:ext cx="9112251" cy="808430"/>
          </a:xfrm>
        </p:spPr>
        <p:txBody>
          <a:bodyPr>
            <a:normAutofit/>
          </a:bodyPr>
          <a:lstStyle>
            <a:lvl1pPr algn="ctr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30349" y="2724539"/>
            <a:ext cx="9112251" cy="1602986"/>
          </a:xfrm>
        </p:spPr>
        <p:txBody>
          <a:bodyPr anchor="ctr" anchorCtr="1">
            <a:normAutofit/>
          </a:bodyPr>
          <a:lstStyle>
            <a:lvl1pPr marL="285744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solidFill>
                  <a:schemeClr val="bg1"/>
                </a:solidFill>
                <a:latin typeface="+mn-lt"/>
              </a:defRPr>
            </a:lvl1pPr>
            <a:lvl2pPr marL="742932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1200121" indent="-28574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1543012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solidFill>
                  <a:schemeClr val="bg1"/>
                </a:solidFill>
                <a:latin typeface="+mn-lt"/>
              </a:defRPr>
            </a:lvl4pPr>
            <a:lvl5pPr marL="2000201" indent="-171446">
              <a:buClr>
                <a:srgbClr val="DC4405"/>
              </a:buClr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9682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0"/>
            <a:ext cx="3050617" cy="6858000"/>
          </a:xfrm>
          <a:prstGeom prst="rect">
            <a:avLst/>
          </a:prstGeom>
          <a:solidFill>
            <a:srgbClr val="DC4305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6109887" y="0"/>
            <a:ext cx="3058740" cy="6858000"/>
          </a:xfrm>
          <a:prstGeom prst="rect">
            <a:avLst/>
          </a:prstGeom>
          <a:solidFill>
            <a:srgbClr val="DC4305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>
            <a:off x="3051091" y="0"/>
            <a:ext cx="3058740" cy="6858000"/>
          </a:xfrm>
          <a:prstGeom prst="rect">
            <a:avLst/>
          </a:prstGeom>
          <a:solidFill>
            <a:srgbClr val="DC430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9168699" y="0"/>
            <a:ext cx="3058740" cy="6858000"/>
          </a:xfrm>
          <a:prstGeom prst="rect">
            <a:avLst/>
          </a:prstGeom>
          <a:solidFill>
            <a:srgbClr val="DC430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64" y="2186503"/>
            <a:ext cx="3039824" cy="344488"/>
          </a:xfrm>
        </p:spPr>
        <p:txBody>
          <a:bodyPr anchor="ctr" anchorCtr="1">
            <a:noAutofit/>
          </a:bodyPr>
          <a:lstStyle>
            <a:lvl1pPr marL="0" indent="0">
              <a:buNone/>
              <a:defRPr sz="2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" y="2661297"/>
            <a:ext cx="3047867" cy="3356400"/>
          </a:xfrm>
        </p:spPr>
        <p:txBody>
          <a:bodyPr anchor="ctr" anchorCtr="1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069991" y="2186503"/>
            <a:ext cx="3039824" cy="344488"/>
          </a:xfrm>
        </p:spPr>
        <p:txBody>
          <a:bodyPr anchor="ctr" anchorCtr="1">
            <a:noAutofit/>
          </a:bodyPr>
          <a:lstStyle>
            <a:lvl1pPr marL="0" indent="0">
              <a:buNone/>
              <a:defRPr sz="2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069629" y="2661297"/>
            <a:ext cx="3047867" cy="3356400"/>
          </a:xfrm>
        </p:spPr>
        <p:txBody>
          <a:bodyPr anchor="ctr" anchorCtr="1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117495" y="2186503"/>
            <a:ext cx="3039824" cy="344488"/>
          </a:xfrm>
        </p:spPr>
        <p:txBody>
          <a:bodyPr anchor="ctr" anchorCtr="1">
            <a:noAutofit/>
          </a:bodyPr>
          <a:lstStyle>
            <a:lvl1pPr marL="0" indent="0">
              <a:buNone/>
              <a:defRPr sz="2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6117133" y="2661297"/>
            <a:ext cx="3047867" cy="3356400"/>
          </a:xfrm>
        </p:spPr>
        <p:txBody>
          <a:bodyPr anchor="ctr" anchorCtr="1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9157683" y="2184822"/>
            <a:ext cx="3039824" cy="344488"/>
          </a:xfrm>
        </p:spPr>
        <p:txBody>
          <a:bodyPr anchor="ctr" anchorCtr="1">
            <a:noAutofit/>
          </a:bodyPr>
          <a:lstStyle>
            <a:lvl1pPr marL="0" indent="0">
              <a:buNone/>
              <a:defRPr sz="2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9157320" y="2659616"/>
            <a:ext cx="3047867" cy="3356400"/>
          </a:xfrm>
        </p:spPr>
        <p:txBody>
          <a:bodyPr anchor="ctr" anchorCtr="1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925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rgbClr val="DC440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0" y="3423684"/>
            <a:ext cx="12192000" cy="12918"/>
          </a:xfrm>
          <a:prstGeom prst="line">
            <a:avLst/>
          </a:prstGeom>
          <a:ln w="50800">
            <a:solidFill>
              <a:srgbClr val="DC44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237797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794434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94435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5939575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496213" y="3654738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496213" y="4059937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641354" y="3265342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197991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7991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662430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0" y="3423684"/>
            <a:ext cx="12192000" cy="12918"/>
          </a:xfrm>
          <a:prstGeom prst="line">
            <a:avLst/>
          </a:prstGeom>
          <a:ln w="50800">
            <a:solidFill>
              <a:srgbClr val="DC44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237797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794434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94435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Gill Sans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5939575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496213" y="3654738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496213" y="4059937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641354" y="3265342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197991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7991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169059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rgbClr val="DC440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0" y="3423684"/>
            <a:ext cx="12192000" cy="12918"/>
          </a:xfrm>
          <a:prstGeom prst="line">
            <a:avLst/>
          </a:prstGeom>
          <a:ln w="50800">
            <a:solidFill>
              <a:srgbClr val="DC44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237797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794434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94435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4089510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646147" y="3662509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646147" y="4067708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7789641" y="3271801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7346279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346279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641354" y="3265342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10197991" y="3662509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197991" y="4067708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87394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0" y="3423684"/>
            <a:ext cx="12192000" cy="12918"/>
          </a:xfrm>
          <a:prstGeom prst="line">
            <a:avLst/>
          </a:prstGeom>
          <a:ln w="50800">
            <a:solidFill>
              <a:srgbClr val="DC44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237797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794434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94435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4089510" y="3278260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646147" y="3662509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646147" y="4067708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7789641" y="3271801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7346279" y="2861060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346279" y="2030819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641354" y="3265342"/>
            <a:ext cx="316684" cy="316684"/>
          </a:xfrm>
          <a:prstGeom prst="ellipse">
            <a:avLst/>
          </a:prstGeom>
          <a:solidFill>
            <a:srgbClr val="DC4305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10197991" y="3662509"/>
            <a:ext cx="1520092" cy="3444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197991" y="4067708"/>
            <a:ext cx="1520092" cy="751070"/>
          </a:xfrm>
        </p:spPr>
        <p:txBody>
          <a:bodyPr anchor="ctr" anchorCtr="0">
            <a:noAutofit/>
          </a:bodyPr>
          <a:lstStyle>
            <a:lvl1pPr marL="0" indent="0">
              <a:buClr>
                <a:srgbClr val="DC4405"/>
              </a:buClr>
              <a:buFont typeface="Courier New" panose="02070309020205020404" pitchFamily="49" charset="0"/>
              <a:buNone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>
              <a:buClr>
                <a:srgbClr val="DC4405"/>
              </a:buClr>
              <a:buFont typeface="Courier New" panose="02070309020205020404" pitchFamily="49" charset="0"/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Clr>
                <a:srgbClr val="DC4405"/>
              </a:buClr>
              <a:buFont typeface="Courier New" panose="02070309020205020404" pitchFamily="49" charset="0"/>
              <a:buNone/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566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02655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081"/>
          <a:stretch>
            <a:fillRect/>
          </a:stretch>
        </p:blipFill>
        <p:spPr>
          <a:xfrm>
            <a:off x="2" y="0"/>
            <a:ext cx="723901" cy="6858000"/>
          </a:xfrm>
          <a:custGeom>
            <a:avLst/>
            <a:gdLst>
              <a:gd name="connsiteX0" fmla="*/ 0 w 723901"/>
              <a:gd name="connsiteY0" fmla="*/ 0 h 6858000"/>
              <a:gd name="connsiteX1" fmla="*/ 723901 w 723901"/>
              <a:gd name="connsiteY1" fmla="*/ 0 h 6858000"/>
              <a:gd name="connsiteX2" fmla="*/ 723901 w 723901"/>
              <a:gd name="connsiteY2" fmla="*/ 6858000 h 6858000"/>
              <a:gd name="connsiteX3" fmla="*/ 0 w 7239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901" h="6858000">
                <a:moveTo>
                  <a:pt x="0" y="0"/>
                </a:moveTo>
                <a:lnTo>
                  <a:pt x="723901" y="0"/>
                </a:lnTo>
                <a:lnTo>
                  <a:pt x="72390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Oval 7"/>
          <p:cNvSpPr>
            <a:spLocks noChangeAspect="1"/>
          </p:cNvSpPr>
          <p:nvPr userDrawn="1"/>
        </p:nvSpPr>
        <p:spPr>
          <a:xfrm>
            <a:off x="479893" y="512636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4237" y="658628"/>
            <a:ext cx="9879563" cy="49492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16689" y="658626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474237" y="1380931"/>
            <a:ext cx="9879564" cy="5187820"/>
          </a:xfrm>
        </p:spPr>
        <p:txBody>
          <a:bodyPr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1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223976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bg>
      <p:bgPr>
        <a:solidFill>
          <a:srgbClr val="DC44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82651" y="1914526"/>
            <a:ext cx="10452100" cy="4549775"/>
          </a:xfrm>
        </p:spPr>
        <p:txBody>
          <a:bodyPr>
            <a:normAutofit/>
          </a:bodyPr>
          <a:lstStyle>
            <a:lvl1pPr marL="514338" indent="-514338">
              <a:buFont typeface="+mj-lt"/>
              <a:buAutoNum type="arabicPeriod"/>
              <a:defRPr sz="2000" baseline="0">
                <a:solidFill>
                  <a:schemeClr val="bg1"/>
                </a:solidFill>
              </a:defRPr>
            </a:lvl1pPr>
            <a:lvl2pPr marL="914377" indent="-457189">
              <a:buFont typeface="+mj-lt"/>
              <a:buAutoNum type="arabicPeriod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1371566" indent="-457189">
              <a:buFont typeface="+mj-lt"/>
              <a:buAutoNum type="arabicPeriod"/>
              <a:defRPr sz="1600" baseline="0">
                <a:solidFill>
                  <a:schemeClr val="bg1"/>
                </a:solidFill>
              </a:defRPr>
            </a:lvl3pPr>
            <a:lvl4pPr marL="1714457" indent="-342891">
              <a:buFont typeface="+mj-lt"/>
              <a:buAutoNum type="arabicPeriod"/>
              <a:defRPr sz="1400" baseline="0">
                <a:solidFill>
                  <a:schemeClr val="bg1"/>
                </a:solidFill>
              </a:defRPr>
            </a:lvl4pPr>
            <a:lvl5pPr marL="2171646" indent="-342891">
              <a:buFont typeface="+mj-lt"/>
              <a:buAutoNum type="arabicPeriod"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56394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E8D1D38-6905-55EB-E565-998C3CA697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873" r="66807"/>
          <a:stretch/>
        </p:blipFill>
        <p:spPr>
          <a:xfrm>
            <a:off x="2006630" y="4800600"/>
            <a:ext cx="1803370" cy="206117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4317FB4-125D-3CC1-C06D-EE1FD42BCD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528"/>
          <a:stretch/>
        </p:blipFill>
        <p:spPr>
          <a:xfrm>
            <a:off x="3581400" y="687414"/>
            <a:ext cx="8610600" cy="61705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971067-A561-5BB1-DD01-5CC7DC900A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56" t="55544" r="78234"/>
          <a:stretch/>
        </p:blipFill>
        <p:spPr>
          <a:xfrm>
            <a:off x="0" y="3449692"/>
            <a:ext cx="3029607" cy="34083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1C91D2-979E-EBEF-A9AC-8C241BA5DE70}"/>
              </a:ext>
            </a:extLst>
          </p:cNvPr>
          <p:cNvSpPr txBox="1"/>
          <p:nvPr userDrawn="1"/>
        </p:nvSpPr>
        <p:spPr>
          <a:xfrm>
            <a:off x="577414" y="649822"/>
            <a:ext cx="8881896" cy="10969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400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ministrative Modernization Progra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21736-2593-A7FE-D119-517E146837A9}"/>
              </a:ext>
            </a:extLst>
          </p:cNvPr>
          <p:cNvSpPr txBox="1"/>
          <p:nvPr userDrawn="1"/>
        </p:nvSpPr>
        <p:spPr>
          <a:xfrm>
            <a:off x="522822" y="1982714"/>
            <a:ext cx="57913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cap="all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P</a:t>
            </a:r>
            <a:r>
              <a:rPr lang="en-US" sz="1400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eeting </a:t>
            </a:r>
            <a:r>
              <a:rPr lang="en-US" sz="1400" b="1" cap="all">
                <a:solidFill>
                  <a:srgbClr val="E0552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/</a:t>
            </a:r>
            <a:r>
              <a:rPr lang="en-US" sz="1400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y 23,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2BAA31-84BC-66FC-6249-6EF701C137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4087" y="2728687"/>
            <a:ext cx="3351799" cy="999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3306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C50525C-78DC-90C8-D910-E4F965814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8164"/>
          <a:stretch/>
        </p:blipFill>
        <p:spPr>
          <a:xfrm>
            <a:off x="-17929" y="0"/>
            <a:ext cx="3886200" cy="687828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9CE08C-8B49-D08C-A9D7-4B0C20690241}"/>
              </a:ext>
            </a:extLst>
          </p:cNvPr>
          <p:cNvSpPr txBox="1"/>
          <p:nvPr userDrawn="1"/>
        </p:nvSpPr>
        <p:spPr>
          <a:xfrm>
            <a:off x="4847387" y="1169325"/>
            <a:ext cx="6323121" cy="459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3600" b="1" i="0" kern="1200" cap="all" noProof="0">
                <a:solidFill>
                  <a:schemeClr val="tx1"/>
                </a:solidFill>
                <a:latin typeface="Stratum2 Black" panose="020B0506030000020004" pitchFamily="34" charset="77"/>
                <a:ea typeface="Open Sans" panose="020B0606030504020204" pitchFamily="34" charset="0"/>
                <a:cs typeface="Open Sans" panose="020B0606030504020204" pitchFamily="34" charset="0"/>
              </a:rPr>
              <a:t>agenda</a:t>
            </a:r>
            <a:endParaRPr lang="en-US" sz="3600" b="1" i="0" kern="1200" cap="all">
              <a:solidFill>
                <a:schemeClr val="tx1"/>
              </a:solidFill>
              <a:latin typeface="Stratum2 Black" panose="020B0506030000020004" pitchFamily="34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6E706C5D-EA2A-058D-BA31-B99B3859A583}"/>
              </a:ext>
            </a:extLst>
          </p:cNvPr>
          <p:cNvSpPr/>
          <p:nvPr userDrawn="1"/>
        </p:nvSpPr>
        <p:spPr>
          <a:xfrm>
            <a:off x="4847387" y="1784732"/>
            <a:ext cx="2156605" cy="174786"/>
          </a:xfrm>
          <a:prstGeom prst="parallelogram">
            <a:avLst>
              <a:gd name="adj" fmla="val 52423"/>
            </a:avLst>
          </a:prstGeom>
          <a:solidFill>
            <a:srgbClr val="D73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1F5550-5C38-E3E8-A6A8-4ABE671FEFD0}"/>
              </a:ext>
            </a:extLst>
          </p:cNvPr>
          <p:cNvSpPr/>
          <p:nvPr userDrawn="1"/>
        </p:nvSpPr>
        <p:spPr>
          <a:xfrm>
            <a:off x="0" y="580"/>
            <a:ext cx="3886200" cy="6858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 l="-74381" t="-766" r="-9001" b="-2246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741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7949A-F5D5-F89E-7601-B1ADB048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f the slide goes here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3F10AD0-6942-4FB7-1E79-8BF59B0536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659835"/>
            <a:ext cx="10515600" cy="4517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3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A15869-A9E5-C6CD-5668-C988DCA1A1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172816"/>
            <a:ext cx="10515600" cy="401983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Place long strapline here</a:t>
            </a:r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EE58C9-DC42-5204-94B9-D93F060F9844}"/>
              </a:ext>
            </a:extLst>
          </p:cNvPr>
          <p:cNvSpPr/>
          <p:nvPr userDrawn="1"/>
        </p:nvSpPr>
        <p:spPr>
          <a:xfrm>
            <a:off x="838200" y="926398"/>
            <a:ext cx="2156605" cy="174786"/>
          </a:xfrm>
          <a:prstGeom prst="parallelogram">
            <a:avLst>
              <a:gd name="adj" fmla="val 52423"/>
            </a:avLst>
          </a:prstGeom>
          <a:solidFill>
            <a:srgbClr val="D73F09"/>
          </a:solidFill>
          <a:ln>
            <a:solidFill>
              <a:srgbClr val="D73F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7222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7949A-F5D5-F89E-7601-B1ADB048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f the slide goes here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3F10AD0-6942-4FB7-1E79-8BF59B0536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659835"/>
            <a:ext cx="5121814" cy="45171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3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12A2649-8036-0193-B15E-4F4106E0AE3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31987" y="1659835"/>
            <a:ext cx="5124157" cy="45171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3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F2EAFDB-5301-9B40-EAE6-6600794A29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017588"/>
            <a:ext cx="10515600" cy="557212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Place long strapline here</a:t>
            </a:r>
          </a:p>
        </p:txBody>
      </p:sp>
    </p:spTree>
    <p:extLst>
      <p:ext uri="{BB962C8B-B14F-4D97-AF65-F5344CB8AC3E}">
        <p14:creationId xmlns:p14="http://schemas.microsoft.com/office/powerpoint/2010/main" val="3255723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68147-706F-4056-5D71-99E3356C7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6378526" cy="489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C6A935-1C5D-FF05-9133-4C36E6C9CC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07569" y="0"/>
            <a:ext cx="4384431" cy="6858000"/>
          </a:xfrm>
          <a:prstGeom prst="rect">
            <a:avLst/>
          </a:prstGeom>
          <a:pattFill prst="pct30">
            <a:fgClr>
              <a:schemeClr val="accent3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4E5A180-10FE-0EA2-7F5A-7F16AABCED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659835"/>
            <a:ext cx="6378526" cy="4517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3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6CA6E4-2697-C77B-7013-1E033E9759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017588"/>
            <a:ext cx="6448720" cy="557212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Place long strapline here</a:t>
            </a:r>
          </a:p>
        </p:txBody>
      </p:sp>
    </p:spTree>
    <p:extLst>
      <p:ext uri="{BB962C8B-B14F-4D97-AF65-F5344CB8AC3E}">
        <p14:creationId xmlns:p14="http://schemas.microsoft.com/office/powerpoint/2010/main" val="2228628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ot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6957E4C-DA0B-6B36-3D15-000537A2E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0" y="580"/>
            <a:ext cx="3814674" cy="685742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0E61560-ED41-7195-20EB-E1B021C195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5524" y="857250"/>
            <a:ext cx="3177259" cy="70643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1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1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1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1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71CA08-6A27-56B9-0416-5348FEC12A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5525" y="2103438"/>
            <a:ext cx="3629745" cy="41275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buNone/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50000"/>
              </a:lnSpc>
              <a:buNone/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algn="l" defTabSz="914400" rtl="0" eaLnBrk="1" latinLnBrk="0" hangingPunct="1">
              <a:lnSpc>
                <a:spcPct val="150000"/>
              </a:lnSpc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algn="l" defTabSz="914400" rtl="0" eaLnBrk="1" latinLnBrk="0" hangingPunct="1">
              <a:lnSpc>
                <a:spcPct val="150000"/>
              </a:lnSpc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algn="l" defTabSz="914400" rtl="0" eaLnBrk="1" latinLnBrk="0" hangingPunct="1">
              <a:lnSpc>
                <a:spcPct val="150000"/>
              </a:lnSpc>
              <a:defRPr lang="en-US" sz="1800" kern="1200" dirty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defTabSz="914400">
              <a:lnSpc>
                <a:spcPct val="150000"/>
              </a:lnSpc>
            </a:pPr>
            <a:r>
              <a:rPr lang="en-US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aptive, Financial Planning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1A9BF0F-9359-CF3D-0F50-05E94A92F4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35524" y="2650989"/>
            <a:ext cx="422214" cy="424647"/>
          </a:xfrm>
          <a:blipFill dpi="0" rotWithShape="1">
            <a:blip r:embed="rId4"/>
            <a:srcRect/>
            <a:tile tx="0" ty="0" sx="100000" sy="100000" flip="none" algn="tl"/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0DCC4CB-68BE-E25D-C216-6FA05F2E99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60665" y="2662886"/>
            <a:ext cx="3629745" cy="41275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buNone/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50000"/>
              </a:lnSpc>
              <a:buNone/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algn="l" defTabSz="914400" rtl="0" eaLnBrk="1" latinLnBrk="0" hangingPunct="1">
              <a:lnSpc>
                <a:spcPct val="150000"/>
              </a:lnSpc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algn="l" defTabSz="914400" rtl="0" eaLnBrk="1" latinLnBrk="0" hangingPunct="1">
              <a:lnSpc>
                <a:spcPct val="150000"/>
              </a:lnSpc>
              <a:defRPr lang="en-US" sz="1800" kern="1200" dirty="0" smtClean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algn="l" defTabSz="914400" rtl="0" eaLnBrk="1" latinLnBrk="0" hangingPunct="1">
              <a:lnSpc>
                <a:spcPct val="150000"/>
              </a:lnSpc>
              <a:defRPr lang="en-US" sz="1800" kern="1200" dirty="0">
                <a:solidFill>
                  <a:srgbClr val="D73F0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r>
              <a:rPr lang="en-US" sz="1800" b="1">
                <a:solidFill>
                  <a:srgbClr val="000000">
                    <a:lumMod val="75000"/>
                    <a:lumOff val="2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UE + BENEFITS</a:t>
            </a:r>
            <a:endParaRPr lang="en-US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C138A80-BCA0-1A84-D6AC-3359931BB07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835524" y="3222334"/>
            <a:ext cx="5351463" cy="1916113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buNone/>
              <a:defRPr lang="en-US" sz="1800" kern="1200" dirty="0">
                <a:solidFill>
                  <a:srgbClr val="000000">
                    <a:lumMod val="75000"/>
                    <a:lumOff val="2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rgbClr val="000000">
                    <a:lumMod val="75000"/>
                    <a:lumOff val="2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ly interactive user-friendly interface for self-service reporting. Real-time visualization of data and instantly see the impact of adjustments. Provides budgeting, forecasting, reporting, and analytics for all OSU campuses. </a:t>
            </a:r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2402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7949A-F5D5-F89E-7601-B1ADB048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04251" y="365126"/>
            <a:ext cx="6231835" cy="489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of the slide goes here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3F10AD0-6942-4FB7-1E79-8BF59B0536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04252" y="1659835"/>
            <a:ext cx="7149548" cy="4517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3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4673677-06BA-3275-58B5-46BEAB950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0" y="580"/>
            <a:ext cx="3814674" cy="685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534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ECC5-8ABF-B602-3FA7-E079C7D03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165E61-7954-C505-C846-EAA84F5A898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22EF7B-3E43-6545-A8A9-3A93FC6D35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88365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3BA009-09C3-A63F-881D-CD5259FC4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Title Here 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AC3E7B-525D-E50E-1746-24AF437B44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17588"/>
            <a:ext cx="10515600" cy="557212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Place long straplin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C31BD84-772B-D686-B40D-B05AFA7D4C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09750"/>
            <a:ext cx="10515600" cy="453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6357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4237" y="658628"/>
            <a:ext cx="9879563" cy="494927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6973849" y="2195519"/>
            <a:ext cx="3318691" cy="3318690"/>
          </a:xfrm>
          <a:prstGeom prst="ellipse">
            <a:avLst/>
          </a:prstGeom>
          <a:noFill/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1574169" y="2195519"/>
            <a:ext cx="3318691" cy="3318690"/>
          </a:xfrm>
          <a:prstGeom prst="ellipse">
            <a:avLst/>
          </a:prstGeom>
          <a:noFill/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4274009" y="2195519"/>
            <a:ext cx="3318691" cy="3318690"/>
          </a:xfrm>
          <a:prstGeom prst="ellipse">
            <a:avLst/>
          </a:prstGeom>
          <a:noFill/>
          <a:ln w="50800">
            <a:solidFill>
              <a:srgbClr val="B3B3B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274009" y="2216577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74169" y="2222100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73849" y="2216681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9169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769C4-4126-5D1D-698F-D126575D1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4F84D3-2903-7641-5D3D-DE5E0D0DDC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78125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xagon 2">
            <a:extLst>
              <a:ext uri="{FF2B5EF4-FFF2-40B4-BE49-F238E27FC236}">
                <a16:creationId xmlns:a16="http://schemas.microsoft.com/office/drawing/2014/main" id="{90E28A12-6F5D-3AAE-659F-5A2B857796A7}"/>
              </a:ext>
            </a:extLst>
          </p:cNvPr>
          <p:cNvSpPr/>
          <p:nvPr userDrawn="1"/>
        </p:nvSpPr>
        <p:spPr>
          <a:xfrm rot="5400000">
            <a:off x="6028703" y="1633600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73F0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E8C397-2EA4-DE2F-865D-D8BA1CDDF85B}"/>
              </a:ext>
            </a:extLst>
          </p:cNvPr>
          <p:cNvCxnSpPr>
            <a:cxnSpLocks/>
          </p:cNvCxnSpPr>
          <p:nvPr userDrawn="1"/>
        </p:nvCxnSpPr>
        <p:spPr>
          <a:xfrm>
            <a:off x="2005873" y="4697321"/>
            <a:ext cx="8311202" cy="1073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92FDAD-D5E8-DD71-CBA9-836F24303B18}"/>
              </a:ext>
            </a:extLst>
          </p:cNvPr>
          <p:cNvCxnSpPr>
            <a:cxnSpLocks/>
          </p:cNvCxnSpPr>
          <p:nvPr userDrawn="1"/>
        </p:nvCxnSpPr>
        <p:spPr>
          <a:xfrm>
            <a:off x="4379176" y="4697319"/>
            <a:ext cx="0" cy="28707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AE24AB9-E1E4-991D-5AEB-DE8E74DCF0F8}"/>
              </a:ext>
            </a:extLst>
          </p:cNvPr>
          <p:cNvCxnSpPr>
            <a:cxnSpLocks/>
          </p:cNvCxnSpPr>
          <p:nvPr userDrawn="1"/>
        </p:nvCxnSpPr>
        <p:spPr>
          <a:xfrm flipH="1">
            <a:off x="4787557" y="2790025"/>
            <a:ext cx="1522121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7FA92F-49BC-BA52-8C57-C760D72F4C0C}"/>
              </a:ext>
            </a:extLst>
          </p:cNvPr>
          <p:cNvCxnSpPr>
            <a:cxnSpLocks/>
          </p:cNvCxnSpPr>
          <p:nvPr userDrawn="1"/>
        </p:nvCxnSpPr>
        <p:spPr>
          <a:xfrm>
            <a:off x="2005874" y="4697318"/>
            <a:ext cx="0" cy="28707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75FBFB4-9E4D-02A6-D4FB-2D4B7BD60D9C}"/>
              </a:ext>
            </a:extLst>
          </p:cNvPr>
          <p:cNvCxnSpPr>
            <a:cxnSpLocks/>
          </p:cNvCxnSpPr>
          <p:nvPr userDrawn="1"/>
        </p:nvCxnSpPr>
        <p:spPr>
          <a:xfrm>
            <a:off x="8127666" y="4694708"/>
            <a:ext cx="0" cy="28707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CF69F6-8E65-6630-9DEC-843BDFE7FB63}"/>
              </a:ext>
            </a:extLst>
          </p:cNvPr>
          <p:cNvCxnSpPr>
            <a:cxnSpLocks/>
          </p:cNvCxnSpPr>
          <p:nvPr userDrawn="1"/>
        </p:nvCxnSpPr>
        <p:spPr>
          <a:xfrm>
            <a:off x="6312145" y="2544523"/>
            <a:ext cx="0" cy="78293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C3E8EBF-1AA2-7CC0-4529-F821EAFFFE02}"/>
              </a:ext>
            </a:extLst>
          </p:cNvPr>
          <p:cNvSpPr txBox="1"/>
          <p:nvPr userDrawn="1"/>
        </p:nvSpPr>
        <p:spPr>
          <a:xfrm>
            <a:off x="5404840" y="2283864"/>
            <a:ext cx="1703794" cy="180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O \ Vice Provo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150F85-DBA9-FD2A-3C3F-0C3E7AA5E26A}"/>
              </a:ext>
            </a:extLst>
          </p:cNvPr>
          <p:cNvSpPr txBox="1"/>
          <p:nvPr userDrawn="1"/>
        </p:nvSpPr>
        <p:spPr>
          <a:xfrm>
            <a:off x="3126299" y="3202669"/>
            <a:ext cx="2532985" cy="353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terprise Information Investment Committee</a:t>
            </a: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5D43C8BE-60D2-62FB-16AE-65CF2815636A}"/>
              </a:ext>
            </a:extLst>
          </p:cNvPr>
          <p:cNvSpPr/>
          <p:nvPr userDrawn="1"/>
        </p:nvSpPr>
        <p:spPr>
          <a:xfrm rot="5400000">
            <a:off x="4103264" y="2546327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73F0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264DD9-97DA-0A24-D1AD-E6F22F39CE0C}"/>
              </a:ext>
            </a:extLst>
          </p:cNvPr>
          <p:cNvSpPr txBox="1"/>
          <p:nvPr userDrawn="1"/>
        </p:nvSpPr>
        <p:spPr>
          <a:xfrm>
            <a:off x="883427" y="5848054"/>
            <a:ext cx="1950064" cy="347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lementation Partners</a:t>
            </a: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77DFC19F-37D5-EA2B-B8D3-06BD9C7FE8FE}"/>
              </a:ext>
            </a:extLst>
          </p:cNvPr>
          <p:cNvSpPr/>
          <p:nvPr userDrawn="1"/>
        </p:nvSpPr>
        <p:spPr>
          <a:xfrm rot="5400000">
            <a:off x="1725424" y="5138049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7F5F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AB7B76-0901-858C-BE2E-C780E50E616A}"/>
              </a:ext>
            </a:extLst>
          </p:cNvPr>
          <p:cNvSpPr txBox="1"/>
          <p:nvPr userDrawn="1"/>
        </p:nvSpPr>
        <p:spPr>
          <a:xfrm>
            <a:off x="3523776" y="5850422"/>
            <a:ext cx="1703794" cy="1809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ject Teams</a:t>
            </a:r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0FCF15A5-E9AC-0CD5-54E6-6558F71501E1}"/>
              </a:ext>
            </a:extLst>
          </p:cNvPr>
          <p:cNvSpPr/>
          <p:nvPr userDrawn="1"/>
        </p:nvSpPr>
        <p:spPr>
          <a:xfrm rot="5400000">
            <a:off x="4096270" y="5140418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7F5F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7FD82C-6AF5-05DD-7C29-529A39CEB14C}"/>
              </a:ext>
            </a:extLst>
          </p:cNvPr>
          <p:cNvSpPr txBox="1"/>
          <p:nvPr userDrawn="1"/>
        </p:nvSpPr>
        <p:spPr>
          <a:xfrm>
            <a:off x="5399427" y="5847363"/>
            <a:ext cx="1849958" cy="347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ctional Coordinators</a:t>
            </a: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2147804A-DC5D-E7E0-5A2B-F5DCD64C744A}"/>
              </a:ext>
            </a:extLst>
          </p:cNvPr>
          <p:cNvSpPr/>
          <p:nvPr userDrawn="1"/>
        </p:nvSpPr>
        <p:spPr>
          <a:xfrm rot="5400000">
            <a:off x="6043839" y="5137358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7F5F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F29A1C-E4D1-957C-3A8D-195572175F87}"/>
              </a:ext>
            </a:extLst>
          </p:cNvPr>
          <p:cNvSpPr txBox="1"/>
          <p:nvPr userDrawn="1"/>
        </p:nvSpPr>
        <p:spPr>
          <a:xfrm>
            <a:off x="5437410" y="4088513"/>
            <a:ext cx="1849958" cy="347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P Executive Director</a:t>
            </a:r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id="{EF0751DD-6A36-7889-DC26-0734B9D00118}"/>
              </a:ext>
            </a:extLst>
          </p:cNvPr>
          <p:cNvSpPr/>
          <p:nvPr userDrawn="1"/>
        </p:nvSpPr>
        <p:spPr>
          <a:xfrm rot="5400000">
            <a:off x="6017886" y="3475101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73F0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E3E04EE9-86D1-7D71-AAE5-F569248A5EAF}"/>
              </a:ext>
            </a:extLst>
          </p:cNvPr>
          <p:cNvSpPr/>
          <p:nvPr userDrawn="1"/>
        </p:nvSpPr>
        <p:spPr>
          <a:xfrm rot="5400000">
            <a:off x="7949208" y="2833946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73F0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7D9D1F0-3EA8-C59B-512B-4141BA4D1C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34305" y="2687482"/>
            <a:ext cx="304800" cy="24384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79161EB-EF70-02BC-38D8-26EF94D960D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78551" y="2926303"/>
            <a:ext cx="304800" cy="24384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B290E022-2C68-EFF4-407E-6088D4D1CE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50142" y="5261090"/>
            <a:ext cx="304800" cy="24384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AEB2087-AD0E-2C13-2003-B017C1D988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20704" y="1772189"/>
            <a:ext cx="182880" cy="243840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0C2413-3D47-04F8-C941-6B1248997D99}"/>
              </a:ext>
            </a:extLst>
          </p:cNvPr>
          <p:cNvCxnSpPr>
            <a:cxnSpLocks/>
          </p:cNvCxnSpPr>
          <p:nvPr userDrawn="1"/>
        </p:nvCxnSpPr>
        <p:spPr>
          <a:xfrm flipH="1">
            <a:off x="6309678" y="3076502"/>
            <a:ext cx="1522121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D1AABAE-1623-E525-4B29-54C466077195}"/>
              </a:ext>
            </a:extLst>
          </p:cNvPr>
          <p:cNvSpPr txBox="1"/>
          <p:nvPr userDrawn="1"/>
        </p:nvSpPr>
        <p:spPr>
          <a:xfrm>
            <a:off x="7071084" y="3457797"/>
            <a:ext cx="2321375" cy="180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P Steering Committe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90A7A73-3CED-B6B8-198F-647DE16F1282}"/>
              </a:ext>
            </a:extLst>
          </p:cNvPr>
          <p:cNvCxnSpPr>
            <a:cxnSpLocks/>
          </p:cNvCxnSpPr>
          <p:nvPr userDrawn="1"/>
        </p:nvCxnSpPr>
        <p:spPr>
          <a:xfrm>
            <a:off x="6290216" y="4351805"/>
            <a:ext cx="10733" cy="61978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80B55-FFD8-EE7A-4556-713598335FFA}"/>
              </a:ext>
            </a:extLst>
          </p:cNvPr>
          <p:cNvCxnSpPr>
            <a:cxnSpLocks/>
          </p:cNvCxnSpPr>
          <p:nvPr userDrawn="1"/>
        </p:nvCxnSpPr>
        <p:spPr>
          <a:xfrm>
            <a:off x="10319708" y="4695241"/>
            <a:ext cx="0" cy="28707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8EFA65B-8684-F63B-55D1-3B971A5D14ED}"/>
              </a:ext>
            </a:extLst>
          </p:cNvPr>
          <p:cNvSpPr txBox="1"/>
          <p:nvPr userDrawn="1"/>
        </p:nvSpPr>
        <p:spPr>
          <a:xfrm>
            <a:off x="7357500" y="5769676"/>
            <a:ext cx="1538719" cy="5213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ational Change Management</a:t>
            </a:r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AA7615D1-AB69-6629-41AB-7978F820831E}"/>
              </a:ext>
            </a:extLst>
          </p:cNvPr>
          <p:cNvSpPr/>
          <p:nvPr userDrawn="1"/>
        </p:nvSpPr>
        <p:spPr>
          <a:xfrm rot="5400000">
            <a:off x="7875067" y="5116786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7F5F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7E7812-A603-C08C-173B-82B99CEA843B}"/>
              </a:ext>
            </a:extLst>
          </p:cNvPr>
          <p:cNvSpPr txBox="1"/>
          <p:nvPr userDrawn="1"/>
        </p:nvSpPr>
        <p:spPr>
          <a:xfrm>
            <a:off x="9466522" y="5769676"/>
            <a:ext cx="1706520" cy="353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gital Business Process Design</a:t>
            </a:r>
          </a:p>
        </p:txBody>
      </p:sp>
      <p:sp>
        <p:nvSpPr>
          <p:cNvPr id="33" name="Hexagon 32">
            <a:extLst>
              <a:ext uri="{FF2B5EF4-FFF2-40B4-BE49-F238E27FC236}">
                <a16:creationId xmlns:a16="http://schemas.microsoft.com/office/drawing/2014/main" id="{D164A15C-889E-DADD-7652-80F7031C20B9}"/>
              </a:ext>
            </a:extLst>
          </p:cNvPr>
          <p:cNvSpPr/>
          <p:nvPr userDrawn="1"/>
        </p:nvSpPr>
        <p:spPr>
          <a:xfrm rot="5400000">
            <a:off x="10001566" y="5116787"/>
            <a:ext cx="566883" cy="488692"/>
          </a:xfrm>
          <a:prstGeom prst="hexagon">
            <a:avLst/>
          </a:prstGeom>
          <a:solidFill>
            <a:schemeClr val="bg1"/>
          </a:solidFill>
          <a:ln w="19050">
            <a:solidFill>
              <a:srgbClr val="DF41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7F5F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FD5920A-ABD2-D9C3-6CE0-C8148CD3757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96482" y="5239212"/>
            <a:ext cx="243840" cy="24384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43A54C89-9A8D-6D54-0FC1-B762B70AE9C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70783" y="5251584"/>
            <a:ext cx="304800" cy="24384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58D14F9C-1254-6E41-BACE-17F9FF8058F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70788" y="5255663"/>
            <a:ext cx="213360" cy="24384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082DF51-7E48-0E4C-5ED1-DFFA105673E9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96271" y="3592142"/>
            <a:ext cx="213360" cy="24384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6C8979CC-B54F-A801-0321-A8A1FDE7224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000293" y="5249103"/>
            <a:ext cx="243840" cy="24384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ECEA419-1332-CE18-B296-B17237AD06C6}"/>
              </a:ext>
            </a:extLst>
          </p:cNvPr>
          <p:cNvSpPr txBox="1"/>
          <p:nvPr userDrawn="1"/>
        </p:nvSpPr>
        <p:spPr>
          <a:xfrm>
            <a:off x="669268" y="742174"/>
            <a:ext cx="2164224" cy="596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 structur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00C386E-4A2F-9C1B-B4BC-6E291773B32D}"/>
              </a:ext>
            </a:extLst>
          </p:cNvPr>
          <p:cNvCxnSpPr>
            <a:cxnSpLocks/>
          </p:cNvCxnSpPr>
          <p:nvPr userDrawn="1"/>
        </p:nvCxnSpPr>
        <p:spPr>
          <a:xfrm>
            <a:off x="6323183" y="1066128"/>
            <a:ext cx="0" cy="43598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F4E4344-6F1A-32E9-0BF4-E9E0D8779680}"/>
              </a:ext>
            </a:extLst>
          </p:cNvPr>
          <p:cNvSpPr txBox="1"/>
          <p:nvPr userDrawn="1"/>
        </p:nvSpPr>
        <p:spPr>
          <a:xfrm>
            <a:off x="4905393" y="410030"/>
            <a:ext cx="2808570" cy="525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vost/Executive Vice President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13E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 Vice President for Finance and Administration</a:t>
            </a: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145AAA7-8B96-62F5-FAEE-AD8D83F6DEE7}"/>
              </a:ext>
            </a:extLst>
          </p:cNvPr>
          <p:cNvSpPr/>
          <p:nvPr userDrawn="1"/>
        </p:nvSpPr>
        <p:spPr>
          <a:xfrm>
            <a:off x="617342" y="1910225"/>
            <a:ext cx="2156605" cy="174786"/>
          </a:xfrm>
          <a:prstGeom prst="parallelogram">
            <a:avLst>
              <a:gd name="adj" fmla="val 52423"/>
            </a:avLst>
          </a:prstGeom>
          <a:solidFill>
            <a:srgbClr val="D73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38307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otlight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AB5CB32-C13C-C146-926D-6D654A3DAA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16900" y="0"/>
            <a:ext cx="3975100" cy="6858000"/>
          </a:xfrm>
          <a:prstGeom prst="rect">
            <a:avLst/>
          </a:prstGeom>
          <a:pattFill prst="pct30">
            <a:fgClr>
              <a:schemeClr val="accent3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7403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A31FF02-85F9-4EDB-90A1-C93F19554F4B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63" t="1217" r="47758" b="12236"/>
          <a:stretch/>
        </p:blipFill>
        <p:spPr bwMode="auto">
          <a:xfrm>
            <a:off x="7494104" y="0"/>
            <a:ext cx="469789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1F3E92B-6C22-4F3A-B205-78435F87F69B}"/>
              </a:ext>
            </a:extLst>
          </p:cNvPr>
          <p:cNvSpPr/>
          <p:nvPr userDrawn="1"/>
        </p:nvSpPr>
        <p:spPr bwMode="gray">
          <a:xfrm>
            <a:off x="7420131" y="0"/>
            <a:ext cx="98947" cy="6858000"/>
          </a:xfrm>
          <a:prstGeom prst="rect">
            <a:avLst/>
          </a:prstGeom>
          <a:solidFill>
            <a:srgbClr val="FF820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rgbClr val="0E2B58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7E50FF7-54EF-4648-B530-A1DE6E77D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36318"/>
            <a:ext cx="6583680" cy="40391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>
              <a:defRPr sz="2400" b="1">
                <a:solidFill>
                  <a:srgbClr val="57585B"/>
                </a:solidFill>
                <a:latin typeface="+mn-lt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020589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blipFill dpi="0" rotWithShape="1">
          <a:blip r:embed="rId2">
            <a:lum/>
          </a:blip>
          <a:srcRect/>
          <a:stretch>
            <a:fillRect l="-18000" r="-1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2C7872B-D8AE-6054-7154-39DBC51198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20464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EEDB3D1-650C-4E73-8981-5CBEF56C27A2}"/>
              </a:ext>
            </a:extLst>
          </p:cNvPr>
          <p:cNvSpPr/>
          <p:nvPr userDrawn="1"/>
        </p:nvSpPr>
        <p:spPr bwMode="gray">
          <a:xfrm>
            <a:off x="0" y="2018581"/>
            <a:ext cx="10888133" cy="2971496"/>
          </a:xfrm>
          <a:prstGeom prst="rect">
            <a:avLst/>
          </a:prstGeom>
          <a:solidFill>
            <a:schemeClr val="bg1">
              <a:alpha val="69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15E517-EF07-46CB-BF12-7A1AE9A7353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2018581"/>
            <a:ext cx="10418233" cy="297149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5000"/>
              </a:lnSpc>
              <a:defRPr sz="3200" b="1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64728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BB9BF8-C3AD-48AA-AFEF-B6EA16EDD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473" y="609812"/>
            <a:ext cx="10896280" cy="577528"/>
          </a:xfrm>
          <a:prstGeom prst="rect">
            <a:avLst/>
          </a:prstGeom>
        </p:spPr>
        <p:txBody>
          <a:bodyPr anchor="b"/>
          <a:lstStyle>
            <a:lvl1pPr algn="l">
              <a:defRPr sz="4000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65E57-6766-40C9-B779-7EA907388F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491818"/>
            <a:ext cx="889000" cy="36618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6AE207-25E9-6790-7D18-E547699247F1}"/>
              </a:ext>
            </a:extLst>
          </p:cNvPr>
          <p:cNvSpPr/>
          <p:nvPr userDrawn="1"/>
        </p:nvSpPr>
        <p:spPr>
          <a:xfrm>
            <a:off x="694267" y="1167886"/>
            <a:ext cx="1930400" cy="60959"/>
          </a:xfrm>
          <a:prstGeom prst="rect">
            <a:avLst/>
          </a:prstGeom>
          <a:solidFill>
            <a:srgbClr val="DF552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69B79A5-01C0-2DE2-D678-36FB8F6BC5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628" y="2185182"/>
            <a:ext cx="10929485" cy="3504933"/>
          </a:xfrm>
          <a:prstGeom prst="rect">
            <a:avLst/>
          </a:prstGeom>
        </p:spPr>
        <p:txBody>
          <a:bodyPr/>
          <a:lstStyle>
            <a:lvl1pPr marL="457189" indent="-457189">
              <a:buFont typeface="Arial" panose="020B0604020202020204" pitchFamily="34" charset="0"/>
              <a:buChar char="•"/>
              <a:defRPr sz="186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990575" indent="-380990">
              <a:buFont typeface="Courier New" panose="02070309020205020404" pitchFamily="49" charset="0"/>
              <a:buChar char="o"/>
              <a:defRPr sz="160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523962" indent="-304792">
              <a:buSzPct val="100000"/>
              <a:buFont typeface="Courier New" panose="02070309020205020404" pitchFamily="49" charset="0"/>
              <a:buChar char="o"/>
              <a:defRPr sz="146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2133547" indent="-304792">
              <a:buFont typeface="Courier New" panose="02070309020205020404" pitchFamily="49" charset="0"/>
              <a:buChar char="o"/>
              <a:defRPr sz="140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743131" indent="-304792">
              <a:buFont typeface="Courier New" panose="02070309020205020404" pitchFamily="49" charset="0"/>
              <a:buChar char="o"/>
              <a:defRPr sz="13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14 pt.)</a:t>
            </a:r>
          </a:p>
          <a:p>
            <a:pPr lvl="1"/>
            <a:r>
              <a:rPr lang="en-US"/>
              <a:t>Second level (Open Sans, 12)</a:t>
            </a:r>
          </a:p>
          <a:p>
            <a:pPr lvl="2"/>
            <a:r>
              <a:rPr lang="en-US"/>
              <a:t>Third level (Open Sans, 11)</a:t>
            </a:r>
          </a:p>
          <a:p>
            <a:pPr lvl="3"/>
            <a:r>
              <a:rPr lang="en-US"/>
              <a:t>Fourth level (Open Sans, 10.5)</a:t>
            </a:r>
          </a:p>
          <a:p>
            <a:pPr lvl="4"/>
            <a:r>
              <a:rPr lang="en-US"/>
              <a:t>Fifth level (Open Sans, 10)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32089CD-A78B-4DF6-6971-3AC6020154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0628" y="1382541"/>
            <a:ext cx="10929485" cy="76113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67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990575" indent="-380990">
              <a:buFont typeface="Courier New" panose="02070309020205020404" pitchFamily="49" charset="0"/>
              <a:buChar char="o"/>
              <a:defRPr sz="2133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523962" indent="-304792">
              <a:buSzPct val="100000"/>
              <a:buFont typeface="Courier New" panose="02070309020205020404" pitchFamily="49" charset="0"/>
              <a:buChar char="o"/>
              <a:defRPr sz="186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2133547" indent="-304792">
              <a:buFont typeface="Courier New" panose="02070309020205020404" pitchFamily="49" charset="0"/>
              <a:buChar char="o"/>
              <a:defRPr sz="160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743131" indent="-304792">
              <a:buFont typeface="Courier New" panose="02070309020205020404" pitchFamily="49" charset="0"/>
              <a:buChar char="o"/>
              <a:defRPr sz="1467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14 pt.)</a:t>
            </a:r>
          </a:p>
        </p:txBody>
      </p:sp>
    </p:spTree>
    <p:extLst>
      <p:ext uri="{BB962C8B-B14F-4D97-AF65-F5344CB8AC3E}">
        <p14:creationId xmlns:p14="http://schemas.microsoft.com/office/powerpoint/2010/main" val="4476469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14180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EB7B73-235D-A41D-26FD-9DB2F85ACE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11537450" cy="6858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3600" b="1" i="0">
                <a:latin typeface="Stratum2 Bold" panose="020B0506030000020004" pitchFamily="34" charset="77"/>
              </a:defRPr>
            </a:lvl1pPr>
          </a:lstStyle>
          <a:p>
            <a:r>
              <a:rPr lang="en-US">
                <a:latin typeface="Stratum2 Regular" panose="020B0506030000020004" pitchFamily="34" charset="77"/>
              </a:rPr>
              <a:t>Title Only</a:t>
            </a:r>
          </a:p>
        </p:txBody>
      </p:sp>
    </p:spTree>
    <p:extLst>
      <p:ext uri="{BB962C8B-B14F-4D97-AF65-F5344CB8AC3E}">
        <p14:creationId xmlns:p14="http://schemas.microsoft.com/office/powerpoint/2010/main" val="3669876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789C4C88-F935-9711-F618-69A3E7F90F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-4997" y="0"/>
            <a:ext cx="3814997" cy="6858000"/>
          </a:xfrm>
          <a:prstGeom prst="rect">
            <a:avLst/>
          </a:prstGeom>
        </p:spPr>
      </p:pic>
      <p:sp>
        <p:nvSpPr>
          <p:cNvPr id="2" name="Title 37">
            <a:extLst>
              <a:ext uri="{FF2B5EF4-FFF2-40B4-BE49-F238E27FC236}">
                <a16:creationId xmlns:a16="http://schemas.microsoft.com/office/drawing/2014/main" id="{532FC5FC-EA0A-D220-2F46-DD794865E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800" y="406403"/>
            <a:ext cx="5943600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Title Only, Right</a:t>
            </a:r>
          </a:p>
        </p:txBody>
      </p:sp>
      <p:sp>
        <p:nvSpPr>
          <p:cNvPr id="7" name="Text Placeholder 30">
            <a:extLst>
              <a:ext uri="{FF2B5EF4-FFF2-40B4-BE49-F238E27FC236}">
                <a16:creationId xmlns:a16="http://schemas.microsoft.com/office/drawing/2014/main" id="{0565FB9F-19A4-B26F-4ECF-B093BA72FD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14800" y="1842448"/>
            <a:ext cx="6210300" cy="47107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D953B5-0B21-87B2-256D-FF1271EE9E8E}"/>
              </a:ext>
            </a:extLst>
          </p:cNvPr>
          <p:cNvSpPr/>
          <p:nvPr/>
        </p:nvSpPr>
        <p:spPr>
          <a:xfrm>
            <a:off x="4114800" y="1186716"/>
            <a:ext cx="2867377" cy="79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0644466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3C2A8E-89F6-5514-DC15-9E7CCDDD0C81}"/>
              </a:ext>
            </a:extLst>
          </p:cNvPr>
          <p:cNvSpPr/>
          <p:nvPr/>
        </p:nvSpPr>
        <p:spPr>
          <a:xfrm>
            <a:off x="8300803" y="0"/>
            <a:ext cx="3886200" cy="685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74381" t="-766" r="-9001" b="-2246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18018D10-4A58-D583-73A6-4A6259329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7597524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Title Only, Left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FB454B52-CAA5-FA02-E6D5-AC75622907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8156" y="1591122"/>
            <a:ext cx="7556643" cy="50382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860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4237" y="658628"/>
            <a:ext cx="9879563" cy="49492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6973849" y="2195519"/>
            <a:ext cx="3318691" cy="3318690"/>
          </a:xfrm>
          <a:prstGeom prst="ellipse">
            <a:avLst/>
          </a:prstGeom>
          <a:noFill/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1574169" y="2195519"/>
            <a:ext cx="3318691" cy="3318690"/>
          </a:xfrm>
          <a:prstGeom prst="ellipse">
            <a:avLst/>
          </a:prstGeom>
          <a:noFill/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4274009" y="2195519"/>
            <a:ext cx="3318691" cy="3318690"/>
          </a:xfrm>
          <a:prstGeom prst="ellipse">
            <a:avLst/>
          </a:prstGeom>
          <a:noFill/>
          <a:ln w="50800">
            <a:solidFill>
              <a:srgbClr val="B3B3B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274009" y="2216577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74169" y="2222100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73849" y="2216681"/>
            <a:ext cx="3318691" cy="33186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51398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ackground,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892B0D8-1B86-802D-168B-D238A5D108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0" b="70"/>
          <a:stretch/>
        </p:blipFill>
        <p:spPr>
          <a:xfrm>
            <a:off x="0" y="13252"/>
            <a:ext cx="1220905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950772-1215-B63C-751E-8C09AABF03F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0" b="70"/>
          <a:stretch/>
        </p:blipFill>
        <p:spPr>
          <a:xfrm>
            <a:off x="0" y="13252"/>
            <a:ext cx="12209053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38E3CBB-A7DF-4B01-7834-43E8D1B5BBDE}"/>
              </a:ext>
            </a:extLst>
          </p:cNvPr>
          <p:cNvSpPr/>
          <p:nvPr/>
        </p:nvSpPr>
        <p:spPr>
          <a:xfrm>
            <a:off x="0" y="13252"/>
            <a:ext cx="12226107" cy="68580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2DD181-E3F7-5458-9BF5-6086F433EBB6}"/>
              </a:ext>
            </a:extLst>
          </p:cNvPr>
          <p:cNvSpPr/>
          <p:nvPr/>
        </p:nvSpPr>
        <p:spPr>
          <a:xfrm>
            <a:off x="790222" y="4630408"/>
            <a:ext cx="2867377" cy="79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6873F5-67A2-60D6-FD5F-45D4F3C0E4A7}"/>
              </a:ext>
            </a:extLst>
          </p:cNvPr>
          <p:cNvSpPr/>
          <p:nvPr/>
        </p:nvSpPr>
        <p:spPr>
          <a:xfrm>
            <a:off x="-8528" y="19878"/>
            <a:ext cx="12226107" cy="6858000"/>
          </a:xfrm>
          <a:prstGeom prst="rect">
            <a:avLst/>
          </a:prstGeom>
          <a:solidFill>
            <a:schemeClr val="bg1">
              <a:lumMod val="75000"/>
              <a:alpha val="31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0D29F9DE-D4FF-A282-FBC2-3CF06DBA02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505070"/>
            <a:ext cx="889000" cy="366183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Kievit Offc Medium" panose="020B0604030101020102" pitchFamily="34" charset="77"/>
              </a:defRPr>
            </a:lvl1pPr>
          </a:lstStyle>
          <a:p>
            <a:fld id="{DECCF862-B159-4D9F-8ABB-8BFD80BE70A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AFA218B-A59E-DD11-3A7B-7D3E934CFD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833" y="873243"/>
            <a:ext cx="9364720" cy="3522341"/>
          </a:xfrm>
          <a:prstGeom prst="rect">
            <a:avLst/>
          </a:prstGeom>
        </p:spPr>
        <p:txBody>
          <a:bodyPr anchor="b"/>
          <a:lstStyle>
            <a:lvl1pPr algn="l">
              <a:defRPr sz="4400" b="1" i="0" cap="all" baseline="0">
                <a:latin typeface="Stratum2 Regular" panose="020B0506030000020004" pitchFamily="34" charset="77"/>
                <a:ea typeface="Stratum2 Regular" panose="020B0506030000020004" pitchFamily="34" charset="77"/>
                <a:cs typeface="Stratum2 Regular" panose="020B0506030000020004" pitchFamily="34" charset="77"/>
              </a:defRPr>
            </a:lvl1pPr>
          </a:lstStyle>
          <a:p>
            <a:pPr lvl="0"/>
            <a:r>
              <a:rPr lang="en-US"/>
              <a:t>Title Background, V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CD19CF-E2D3-87EA-A5A0-3C50A4608FA0}"/>
              </a:ext>
            </a:extLst>
          </p:cNvPr>
          <p:cNvSpPr/>
          <p:nvPr/>
        </p:nvSpPr>
        <p:spPr>
          <a:xfrm>
            <a:off x="790222" y="4630408"/>
            <a:ext cx="2867377" cy="79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3095020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13FC5D3-9162-A5A8-D91D-0D9195D17B5D}"/>
              </a:ext>
            </a:extLst>
          </p:cNvPr>
          <p:cNvSpPr>
            <a:spLocks/>
          </p:cNvSpPr>
          <p:nvPr/>
        </p:nvSpPr>
        <p:spPr>
          <a:xfrm>
            <a:off x="0" y="36402"/>
            <a:ext cx="12192000" cy="6844748"/>
          </a:xfrm>
          <a:prstGeom prst="rect">
            <a:avLst/>
          </a:prstGeom>
          <a:blipFill>
            <a:blip r:embed="rId2"/>
            <a:srcRect/>
            <a:stretch>
              <a:fillRect l="-3933" r="-3933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1900E2A-1631-CD6D-E86A-1B66FAF1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7069776" cy="685800"/>
          </a:xfrm>
          <a:prstGeom prst="rect">
            <a:avLst/>
          </a:prstGeom>
        </p:spPr>
        <p:txBody>
          <a:bodyPr anchor="b"/>
          <a:lstStyle>
            <a:lvl1pPr algn="l">
              <a:defRPr sz="3600" b="1" i="0" cap="all" baseline="0">
                <a:latin typeface="Stratum2 Regular" panose="020B0506030000020004" pitchFamily="34" charset="77"/>
                <a:ea typeface="Stratum2 Regular" panose="020B0506030000020004" pitchFamily="34" charset="77"/>
                <a:cs typeface="Stratum2 Regular" panose="020B0506030000020004" pitchFamily="34" charset="77"/>
              </a:defRPr>
            </a:lvl1pPr>
          </a:lstStyle>
          <a:p>
            <a:pPr lvl="0"/>
            <a:r>
              <a:rPr lang="en-US"/>
              <a:t>Section image</a:t>
            </a:r>
          </a:p>
        </p:txBody>
      </p:sp>
    </p:spTree>
    <p:extLst>
      <p:ext uri="{BB962C8B-B14F-4D97-AF65-F5344CB8AC3E}">
        <p14:creationId xmlns:p14="http://schemas.microsoft.com/office/powerpoint/2010/main" val="6967787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,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D2B92C49-C8F2-8787-572D-3A61D332DA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5290"/>
          <a:stretch/>
        </p:blipFill>
        <p:spPr>
          <a:xfrm flipH="1">
            <a:off x="7114416" y="0"/>
            <a:ext cx="5077583" cy="6812098"/>
          </a:xfrm>
          <a:prstGeom prst="rect">
            <a:avLst/>
          </a:prstGeom>
        </p:spPr>
      </p:pic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E0A9F5E-2882-B083-10B1-929FAA7A0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89881" y="2058066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7CF38F53-2818-C171-DC2D-B05B5BEE91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0" y="2054076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B01A557C-FAA4-A633-CAB1-259CCFF584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89881" y="3095472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A16048BA-4184-5650-D1DD-E4B593105E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0" y="3091482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E6E26DA5-41BA-B57B-13B4-63BF3F5A74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6568" y="4170879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DA242201-0989-1588-0382-8A0F924990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25687" y="4166889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71DA4C1F-E190-F62A-BAD8-82B5C07996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6568" y="5233070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EE795D06-D1BC-50D0-B6DF-33DF5A9FCE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5687" y="5229080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8" name="Title 37">
            <a:extLst>
              <a:ext uri="{FF2B5EF4-FFF2-40B4-BE49-F238E27FC236}">
                <a16:creationId xmlns:a16="http://schemas.microsoft.com/office/drawing/2014/main" id="{98662D51-A00F-3C6A-D53B-20C7C24CDF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5943600" cy="685801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AGENDA, V1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683D0E14-58F9-E6B5-2B75-3BE720D093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19200" y="2054225"/>
            <a:ext cx="457200" cy="280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4" name="Picture Placeholder 39">
            <a:extLst>
              <a:ext uri="{FF2B5EF4-FFF2-40B4-BE49-F238E27FC236}">
                <a16:creationId xmlns:a16="http://schemas.microsoft.com/office/drawing/2014/main" id="{3446FBA8-B9F9-29BA-60F1-C0C972B7F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215887" y="3091482"/>
            <a:ext cx="457200" cy="280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Picture Placeholder 39">
            <a:extLst>
              <a:ext uri="{FF2B5EF4-FFF2-40B4-BE49-F238E27FC236}">
                <a16:creationId xmlns:a16="http://schemas.microsoft.com/office/drawing/2014/main" id="{69BC1D1B-1065-B1D2-6CB8-F3EBBBDB5E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224568" y="4166889"/>
            <a:ext cx="457200" cy="280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Picture Placeholder 39">
            <a:extLst>
              <a:ext uri="{FF2B5EF4-FFF2-40B4-BE49-F238E27FC236}">
                <a16:creationId xmlns:a16="http://schemas.microsoft.com/office/drawing/2014/main" id="{09A7F936-5816-2211-FB5B-699AC0687FE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24568" y="5236431"/>
            <a:ext cx="457200" cy="280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3529923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,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A8C4574-A8BF-3EEE-4A95-967FEB9793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25"/>
          <a:stretch/>
        </p:blipFill>
        <p:spPr>
          <a:xfrm flipH="1">
            <a:off x="6620718" y="0"/>
            <a:ext cx="5571281" cy="6812098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FA82388F-1FF7-F70C-0229-2958CE8FC522}"/>
              </a:ext>
            </a:extLst>
          </p:cNvPr>
          <p:cNvSpPr/>
          <p:nvPr/>
        </p:nvSpPr>
        <p:spPr>
          <a:xfrm>
            <a:off x="7105736" y="579472"/>
            <a:ext cx="5086264" cy="5649768"/>
          </a:xfrm>
          <a:custGeom>
            <a:avLst/>
            <a:gdLst>
              <a:gd name="connsiteX0" fmla="*/ 2824884 w 5086264"/>
              <a:gd name="connsiteY0" fmla="*/ 0 h 5649768"/>
              <a:gd name="connsiteX1" fmla="*/ 5004702 w 5086264"/>
              <a:gd name="connsiteY1" fmla="*/ 1027996 h 5649768"/>
              <a:gd name="connsiteX2" fmla="*/ 5086264 w 5086264"/>
              <a:gd name="connsiteY2" fmla="*/ 1137068 h 5649768"/>
              <a:gd name="connsiteX3" fmla="*/ 5086264 w 5086264"/>
              <a:gd name="connsiteY3" fmla="*/ 4512701 h 5649768"/>
              <a:gd name="connsiteX4" fmla="*/ 5004702 w 5086264"/>
              <a:gd name="connsiteY4" fmla="*/ 4621772 h 5649768"/>
              <a:gd name="connsiteX5" fmla="*/ 2824884 w 5086264"/>
              <a:gd name="connsiteY5" fmla="*/ 5649768 h 5649768"/>
              <a:gd name="connsiteX6" fmla="*/ 0 w 5086264"/>
              <a:gd name="connsiteY6" fmla="*/ 2824884 h 5649768"/>
              <a:gd name="connsiteX7" fmla="*/ 2824884 w 5086264"/>
              <a:gd name="connsiteY7" fmla="*/ 0 h 5649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86264" h="5649768">
                <a:moveTo>
                  <a:pt x="2824884" y="0"/>
                </a:moveTo>
                <a:cubicBezTo>
                  <a:pt x="3702463" y="0"/>
                  <a:pt x="4486576" y="400173"/>
                  <a:pt x="5004702" y="1027996"/>
                </a:cubicBezTo>
                <a:lnTo>
                  <a:pt x="5086264" y="1137068"/>
                </a:lnTo>
                <a:lnTo>
                  <a:pt x="5086264" y="4512701"/>
                </a:lnTo>
                <a:lnTo>
                  <a:pt x="5004702" y="4621772"/>
                </a:lnTo>
                <a:cubicBezTo>
                  <a:pt x="4486576" y="5249595"/>
                  <a:pt x="3702463" y="5649768"/>
                  <a:pt x="2824884" y="5649768"/>
                </a:cubicBezTo>
                <a:cubicBezTo>
                  <a:pt x="1264744" y="5649768"/>
                  <a:pt x="0" y="4385024"/>
                  <a:pt x="0" y="2824884"/>
                </a:cubicBezTo>
                <a:cubicBezTo>
                  <a:pt x="0" y="1264744"/>
                  <a:pt x="1264744" y="0"/>
                  <a:pt x="282488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733D452-95CB-B317-1B3B-77B5FEC45459}"/>
              </a:ext>
            </a:extLst>
          </p:cNvPr>
          <p:cNvSpPr/>
          <p:nvPr/>
        </p:nvSpPr>
        <p:spPr>
          <a:xfrm>
            <a:off x="7114417" y="598632"/>
            <a:ext cx="5077583" cy="5649768"/>
          </a:xfrm>
          <a:custGeom>
            <a:avLst/>
            <a:gdLst>
              <a:gd name="connsiteX0" fmla="*/ 2824884 w 5077583"/>
              <a:gd name="connsiteY0" fmla="*/ 0 h 5649768"/>
              <a:gd name="connsiteX1" fmla="*/ 5004702 w 5077583"/>
              <a:gd name="connsiteY1" fmla="*/ 1027996 h 5649768"/>
              <a:gd name="connsiteX2" fmla="*/ 5077583 w 5077583"/>
              <a:gd name="connsiteY2" fmla="*/ 1125459 h 5649768"/>
              <a:gd name="connsiteX3" fmla="*/ 5077583 w 5077583"/>
              <a:gd name="connsiteY3" fmla="*/ 4524310 h 5649768"/>
              <a:gd name="connsiteX4" fmla="*/ 5004702 w 5077583"/>
              <a:gd name="connsiteY4" fmla="*/ 4621772 h 5649768"/>
              <a:gd name="connsiteX5" fmla="*/ 2824884 w 5077583"/>
              <a:gd name="connsiteY5" fmla="*/ 5649768 h 5649768"/>
              <a:gd name="connsiteX6" fmla="*/ 0 w 5077583"/>
              <a:gd name="connsiteY6" fmla="*/ 2824884 h 5649768"/>
              <a:gd name="connsiteX7" fmla="*/ 2824884 w 5077583"/>
              <a:gd name="connsiteY7" fmla="*/ 0 h 5649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7583" h="5649768">
                <a:moveTo>
                  <a:pt x="2824884" y="0"/>
                </a:moveTo>
                <a:cubicBezTo>
                  <a:pt x="3702463" y="0"/>
                  <a:pt x="4486576" y="400173"/>
                  <a:pt x="5004702" y="1027996"/>
                </a:cubicBezTo>
                <a:lnTo>
                  <a:pt x="5077583" y="1125459"/>
                </a:lnTo>
                <a:lnTo>
                  <a:pt x="5077583" y="4524310"/>
                </a:lnTo>
                <a:lnTo>
                  <a:pt x="5004702" y="4621772"/>
                </a:lnTo>
                <a:cubicBezTo>
                  <a:pt x="4486576" y="5249595"/>
                  <a:pt x="3702463" y="5649768"/>
                  <a:pt x="2824884" y="5649768"/>
                </a:cubicBezTo>
                <a:cubicBezTo>
                  <a:pt x="1264744" y="5649768"/>
                  <a:pt x="0" y="4385024"/>
                  <a:pt x="0" y="2824884"/>
                </a:cubicBezTo>
                <a:cubicBezTo>
                  <a:pt x="0" y="1264744"/>
                  <a:pt x="1264744" y="0"/>
                  <a:pt x="2824884" y="0"/>
                </a:cubicBez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l="-439" r="-439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C7AD202E-DD1A-574E-A997-4857A19B20AA}"/>
              </a:ext>
            </a:extLst>
          </p:cNvPr>
          <p:cNvSpPr/>
          <p:nvPr/>
        </p:nvSpPr>
        <p:spPr>
          <a:xfrm rot="15265321">
            <a:off x="6413693" y="383683"/>
            <a:ext cx="6600450" cy="6600450"/>
          </a:xfrm>
          <a:prstGeom prst="blockArc">
            <a:avLst>
              <a:gd name="adj1" fmla="val 13546539"/>
              <a:gd name="adj2" fmla="val 16346569"/>
              <a:gd name="adj3" fmla="val 5904"/>
            </a:avLst>
          </a:prstGeom>
          <a:pattFill prst="ltDnDiag">
            <a:fgClr>
              <a:schemeClr val="bg1"/>
            </a:fgClr>
            <a:bgClr>
              <a:schemeClr val="accent6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866CB97A-B990-83B7-461F-1083F5F25E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5943600" cy="685801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accent6"/>
                </a:solidFill>
              </a:defRPr>
            </a:lvl1pPr>
          </a:lstStyle>
          <a:p>
            <a:r>
              <a:rPr lang="en-US"/>
              <a:t>AGENDA, V2</a:t>
            </a:r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D0CB96AA-8B22-BF23-E2DA-A7695C52C4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708" y="2289990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20E51E6F-E3DC-28E2-92D1-8461211CC2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8827" y="2286000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48CAB1BC-6DFB-2B34-FAE0-D6213EE2A0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08" y="2862125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30">
            <a:extLst>
              <a:ext uri="{FF2B5EF4-FFF2-40B4-BE49-F238E27FC236}">
                <a16:creationId xmlns:a16="http://schemas.microsoft.com/office/drawing/2014/main" id="{7AF6F506-A464-9AC4-76E0-4C6C0CB180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8827" y="2858135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4EA30E06-AA72-8ECD-DC8F-4860CAE7C3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3434260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30">
            <a:extLst>
              <a:ext uri="{FF2B5EF4-FFF2-40B4-BE49-F238E27FC236}">
                <a16:creationId xmlns:a16="http://schemas.microsoft.com/office/drawing/2014/main" id="{D74BDB36-3B44-90B1-A342-A109DE6A98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24919" y="3430270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27" name="Text Placeholder 27">
            <a:extLst>
              <a:ext uri="{FF2B5EF4-FFF2-40B4-BE49-F238E27FC236}">
                <a16:creationId xmlns:a16="http://schemas.microsoft.com/office/drawing/2014/main" id="{6311D3D1-0495-5D64-81B4-BAC67509A2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4006395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8" name="Text Placeholder 30">
            <a:extLst>
              <a:ext uri="{FF2B5EF4-FFF2-40B4-BE49-F238E27FC236}">
                <a16:creationId xmlns:a16="http://schemas.microsoft.com/office/drawing/2014/main" id="{C148BFB0-B4C1-548F-DC4F-96176021EB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24919" y="4002405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E48E2C5A-AF1E-6BD3-5E43-03D3E37241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3021" y="4578530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0" name="Text Placeholder 30">
            <a:extLst>
              <a:ext uri="{FF2B5EF4-FFF2-40B4-BE49-F238E27FC236}">
                <a16:creationId xmlns:a16="http://schemas.microsoft.com/office/drawing/2014/main" id="{5E2BFEFD-9D67-4F49-5F87-8C927391D1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42140" y="4574540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1987FB20-73D9-1C6A-8764-016AC26505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5722798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1D12C7F9-639A-CAFF-80EF-7456BF211E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4919" y="5718808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F8AFA110-EEC1-0978-C56D-55DAAAAF22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5150665"/>
            <a:ext cx="1286719" cy="27699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EB56DE93-EDBF-854D-F93D-5E3BB72D4C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24919" y="5146675"/>
            <a:ext cx="2667000" cy="28098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Additional text</a:t>
            </a:r>
          </a:p>
        </p:txBody>
      </p:sp>
    </p:spTree>
    <p:extLst>
      <p:ext uri="{BB962C8B-B14F-4D97-AF65-F5344CB8AC3E}">
        <p14:creationId xmlns:p14="http://schemas.microsoft.com/office/powerpoint/2010/main" val="9004875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,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EB7B73-235D-A41D-26FD-9DB2F85ACE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9735673" cy="6858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r>
              <a:rPr lang="en-US">
                <a:latin typeface="Stratum2 Regular" panose="020B0506030000020004" pitchFamily="34" charset="77"/>
              </a:rPr>
              <a:t>Table, V1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6CFE7D5-BE06-9F36-C314-6122984C58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7276" y="1269241"/>
            <a:ext cx="11466896" cy="4685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latin typeface="Kievit Offc"/>
              </a:defRPr>
            </a:lvl1pPr>
          </a:lstStyle>
          <a:p>
            <a:r>
              <a:rPr lang="en-US">
                <a:latin typeface="Stratum2 Regular" panose="020B0506030000020004" pitchFamily="34" charset="77"/>
              </a:rPr>
              <a:t>Content</a:t>
            </a:r>
          </a:p>
        </p:txBody>
      </p:sp>
      <p:pic>
        <p:nvPicPr>
          <p:cNvPr id="6" name="Picture 5" descr="A black background with orange text&#10;&#10;Description automatically generated">
            <a:extLst>
              <a:ext uri="{FF2B5EF4-FFF2-40B4-BE49-F238E27FC236}">
                <a16:creationId xmlns:a16="http://schemas.microsoft.com/office/drawing/2014/main" id="{A817116A-53DB-8776-C9AE-9493E0A4D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51062" y="61026"/>
            <a:ext cx="1854253" cy="554671"/>
          </a:xfrm>
          <a:prstGeom prst="rect">
            <a:avLst/>
          </a:prstGeom>
        </p:spPr>
      </p:pic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A01241D1-786B-0AA0-7200-FEBB72708B6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27275" y="1804828"/>
            <a:ext cx="11466897" cy="47483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2694034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,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3C2A8E-89F6-5514-DC15-9E7CCDDD0C81}"/>
              </a:ext>
            </a:extLst>
          </p:cNvPr>
          <p:cNvSpPr/>
          <p:nvPr/>
        </p:nvSpPr>
        <p:spPr>
          <a:xfrm>
            <a:off x="8300803" y="0"/>
            <a:ext cx="3886200" cy="685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74381" t="-766" r="-9001" b="-2246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75429C0-D366-D032-EDBC-1FD83E6A85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8904" y="5250014"/>
            <a:ext cx="8026465" cy="137938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800">
                <a:latin typeface="Kievit Offc"/>
              </a:defRPr>
            </a:lvl1pPr>
          </a:lstStyle>
          <a:p>
            <a:r>
              <a:rPr lang="en-US">
                <a:latin typeface="Stratum2 Regular" panose="020B0506030000020004" pitchFamily="34" charset="77"/>
              </a:rPr>
              <a:t>Content</a:t>
            </a:r>
          </a:p>
        </p:txBody>
      </p:sp>
      <p:sp>
        <p:nvSpPr>
          <p:cNvPr id="5" name="Table Placeholder 8">
            <a:extLst>
              <a:ext uri="{FF2B5EF4-FFF2-40B4-BE49-F238E27FC236}">
                <a16:creationId xmlns:a16="http://schemas.microsoft.com/office/drawing/2014/main" id="{3B45E2D9-AB89-F163-DEFB-03C206B301D2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78903" y="1903547"/>
            <a:ext cx="8026465" cy="33005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Title 37">
            <a:extLst>
              <a:ext uri="{FF2B5EF4-FFF2-40B4-BE49-F238E27FC236}">
                <a16:creationId xmlns:a16="http://schemas.microsoft.com/office/drawing/2014/main" id="{58961870-7A55-3EC7-2BF3-C12BDA66CD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4" y="406404"/>
            <a:ext cx="5788603" cy="685801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TABLE, V2</a:t>
            </a:r>
          </a:p>
        </p:txBody>
      </p:sp>
    </p:spTree>
    <p:extLst>
      <p:ext uri="{BB962C8B-B14F-4D97-AF65-F5344CB8AC3E}">
        <p14:creationId xmlns:p14="http://schemas.microsoft.com/office/powerpoint/2010/main" val="42387390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,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3C2A8E-89F6-5514-DC15-9E7CCDDD0C81}"/>
              </a:ext>
            </a:extLst>
          </p:cNvPr>
          <p:cNvSpPr/>
          <p:nvPr/>
        </p:nvSpPr>
        <p:spPr>
          <a:xfrm>
            <a:off x="8300803" y="0"/>
            <a:ext cx="3886200" cy="6858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74381" t="-766" r="-9001" b="-2246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18018D10-4A58-D583-73A6-4A6259329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6797424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1 COLUMN, V3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FB454B52-CAA5-FA02-E6D5-AC75622907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7275" y="2743200"/>
            <a:ext cx="6797425" cy="210978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04117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,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789C4C88-F935-9711-F618-69A3E7F90F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-4997" y="0"/>
            <a:ext cx="3814997" cy="6858000"/>
          </a:xfrm>
          <a:prstGeom prst="rect">
            <a:avLst/>
          </a:prstGeom>
        </p:spPr>
      </p:pic>
      <p:sp>
        <p:nvSpPr>
          <p:cNvPr id="2" name="Title 37">
            <a:extLst>
              <a:ext uri="{FF2B5EF4-FFF2-40B4-BE49-F238E27FC236}">
                <a16:creationId xmlns:a16="http://schemas.microsoft.com/office/drawing/2014/main" id="{532FC5FC-EA0A-D220-2F46-DD794865E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9" y="406404"/>
            <a:ext cx="6210299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1 COLUMN, V4</a:t>
            </a:r>
          </a:p>
        </p:txBody>
      </p:sp>
      <p:sp>
        <p:nvSpPr>
          <p:cNvPr id="7" name="Text Placeholder 30">
            <a:extLst>
              <a:ext uri="{FF2B5EF4-FFF2-40B4-BE49-F238E27FC236}">
                <a16:creationId xmlns:a16="http://schemas.microsoft.com/office/drawing/2014/main" id="{0565FB9F-19A4-B26F-4ECF-B093BA72FD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2743200"/>
            <a:ext cx="6210300" cy="210978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52378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,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55FCCF7-BB4E-14D1-F8AC-37717F4B9C1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-4997" y="0"/>
            <a:ext cx="3814997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5ACA6062-F403-EFF9-5669-FFE4B2242B23}"/>
              </a:ext>
            </a:extLst>
          </p:cNvPr>
          <p:cNvSpPr/>
          <p:nvPr/>
        </p:nvSpPr>
        <p:spPr>
          <a:xfrm>
            <a:off x="1350156" y="217327"/>
            <a:ext cx="2919885" cy="291988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Block Arc 6">
            <a:extLst>
              <a:ext uri="{FF2B5EF4-FFF2-40B4-BE49-F238E27FC236}">
                <a16:creationId xmlns:a16="http://schemas.microsoft.com/office/drawing/2014/main" id="{0DD5E19D-591B-A136-3213-A4EE67025D0C}"/>
              </a:ext>
            </a:extLst>
          </p:cNvPr>
          <p:cNvSpPr/>
          <p:nvPr/>
        </p:nvSpPr>
        <p:spPr>
          <a:xfrm rot="10800000">
            <a:off x="869533" y="146172"/>
            <a:ext cx="3509559" cy="3509559"/>
          </a:xfrm>
          <a:prstGeom prst="blockArc">
            <a:avLst>
              <a:gd name="adj1" fmla="val 15955011"/>
              <a:gd name="adj2" fmla="val 21546639"/>
              <a:gd name="adj3" fmla="val 7051"/>
            </a:avLst>
          </a:prstGeom>
          <a:pattFill prst="ltDnDiag">
            <a:fgClr>
              <a:schemeClr val="bg1"/>
            </a:fgClr>
            <a:bgClr>
              <a:schemeClr val="accent3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F6732128-9E77-2643-A9BC-34A9EC6E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0" y="406404"/>
            <a:ext cx="6210300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6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1 COLUMN, V5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FE8FCA75-5791-11ED-C032-D4FC65C53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2743200"/>
            <a:ext cx="6210300" cy="210978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987123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,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BDFE0F6E-A8AA-4DE8-B1FB-3077B4A319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8377003" y="0"/>
            <a:ext cx="3814997" cy="6858000"/>
          </a:xfrm>
          <a:prstGeom prst="rect">
            <a:avLst/>
          </a:prstGeom>
        </p:spPr>
      </p:pic>
      <p:sp>
        <p:nvSpPr>
          <p:cNvPr id="16" name="Block Arc 15">
            <a:extLst>
              <a:ext uri="{FF2B5EF4-FFF2-40B4-BE49-F238E27FC236}">
                <a16:creationId xmlns:a16="http://schemas.microsoft.com/office/drawing/2014/main" id="{7366B92A-85B2-AC56-FFBF-AFBB3E4A21E1}"/>
              </a:ext>
            </a:extLst>
          </p:cNvPr>
          <p:cNvSpPr/>
          <p:nvPr/>
        </p:nvSpPr>
        <p:spPr>
          <a:xfrm rot="5400000">
            <a:off x="4847015" y="-56284"/>
            <a:ext cx="6494068" cy="6494068"/>
          </a:xfrm>
          <a:prstGeom prst="blockArc">
            <a:avLst>
              <a:gd name="adj1" fmla="val 13180794"/>
              <a:gd name="adj2" fmla="val 16346569"/>
              <a:gd name="adj3" fmla="val 5904"/>
            </a:avLst>
          </a:prstGeom>
          <a:pattFill prst="ltDnDiag">
            <a:fgClr>
              <a:schemeClr val="bg1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DB9DCF18-C836-7CEB-3C28-6AC635ED4B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4" y="406404"/>
            <a:ext cx="6797425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1 COLUMN, V6</a:t>
            </a:r>
          </a:p>
        </p:txBody>
      </p:sp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DEC85320-2F25-2A94-BB1F-AEAC4B2C39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7274" y="2743200"/>
            <a:ext cx="6797426" cy="210978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41BBFA7-2804-E597-0DC4-08ED98D30D4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377238" y="914400"/>
            <a:ext cx="2747962" cy="518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45656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DC44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 userDrawn="1"/>
        </p:nvSpPr>
        <p:spPr>
          <a:xfrm>
            <a:off x="4018146" y="1386020"/>
            <a:ext cx="4112167" cy="4112166"/>
          </a:xfrm>
          <a:prstGeom prst="ellipse">
            <a:avLst/>
          </a:prstGeom>
          <a:solidFill>
            <a:schemeClr val="bg1"/>
          </a:solidFill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273421" y="3859027"/>
            <a:ext cx="3638939" cy="494927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5617028" y="2165323"/>
            <a:ext cx="914400" cy="914400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Icon image</a:t>
            </a:r>
          </a:p>
        </p:txBody>
      </p:sp>
    </p:spTree>
    <p:extLst>
      <p:ext uri="{BB962C8B-B14F-4D97-AF65-F5344CB8AC3E}">
        <p14:creationId xmlns:p14="http://schemas.microsoft.com/office/powerpoint/2010/main" val="14293262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,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D39D754A-5A3D-E4E1-8271-3E1720EF0E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36" b="6314"/>
          <a:stretch/>
        </p:blipFill>
        <p:spPr>
          <a:xfrm>
            <a:off x="8377003" y="0"/>
            <a:ext cx="3814997" cy="6858000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CAF95D7F-F4BF-98B9-C2DB-44744D34EE50}"/>
              </a:ext>
            </a:extLst>
          </p:cNvPr>
          <p:cNvSpPr/>
          <p:nvPr/>
        </p:nvSpPr>
        <p:spPr>
          <a:xfrm>
            <a:off x="8153400" y="718110"/>
            <a:ext cx="2573951" cy="5454090"/>
          </a:xfrm>
          <a:custGeom>
            <a:avLst/>
            <a:gdLst>
              <a:gd name="connsiteX0" fmla="*/ 0 w 2275119"/>
              <a:gd name="connsiteY0" fmla="*/ 0 h 4820878"/>
              <a:gd name="connsiteX1" fmla="*/ 104673 w 2275119"/>
              <a:gd name="connsiteY1" fmla="*/ 5286 h 4820878"/>
              <a:gd name="connsiteX2" fmla="*/ 2275119 w 2275119"/>
              <a:gd name="connsiteY2" fmla="*/ 2410439 h 4820878"/>
              <a:gd name="connsiteX3" fmla="*/ 104673 w 2275119"/>
              <a:gd name="connsiteY3" fmla="*/ 4815592 h 4820878"/>
              <a:gd name="connsiteX4" fmla="*/ 0 w 2275119"/>
              <a:gd name="connsiteY4" fmla="*/ 4820878 h 4820878"/>
              <a:gd name="connsiteX5" fmla="*/ 0 w 2275119"/>
              <a:gd name="connsiteY5" fmla="*/ 0 h 482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5119" h="4820878">
                <a:moveTo>
                  <a:pt x="0" y="0"/>
                </a:moveTo>
                <a:lnTo>
                  <a:pt x="104673" y="5286"/>
                </a:lnTo>
                <a:cubicBezTo>
                  <a:pt x="1323780" y="129093"/>
                  <a:pt x="2275119" y="1158668"/>
                  <a:pt x="2275119" y="2410439"/>
                </a:cubicBezTo>
                <a:cubicBezTo>
                  <a:pt x="2275119" y="3662211"/>
                  <a:pt x="1323780" y="4691785"/>
                  <a:pt x="104673" y="4815592"/>
                </a:cubicBezTo>
                <a:lnTo>
                  <a:pt x="0" y="482087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D4748339-8FFB-BFA5-2465-E7F1ABBEE2FA}"/>
              </a:ext>
            </a:extLst>
          </p:cNvPr>
          <p:cNvSpPr/>
          <p:nvPr/>
        </p:nvSpPr>
        <p:spPr>
          <a:xfrm>
            <a:off x="8153399" y="718110"/>
            <a:ext cx="2573951" cy="5454090"/>
          </a:xfrm>
          <a:custGeom>
            <a:avLst/>
            <a:gdLst>
              <a:gd name="connsiteX0" fmla="*/ 0 w 2275119"/>
              <a:gd name="connsiteY0" fmla="*/ 0 h 4820878"/>
              <a:gd name="connsiteX1" fmla="*/ 104673 w 2275119"/>
              <a:gd name="connsiteY1" fmla="*/ 5286 h 4820878"/>
              <a:gd name="connsiteX2" fmla="*/ 2275119 w 2275119"/>
              <a:gd name="connsiteY2" fmla="*/ 2410439 h 4820878"/>
              <a:gd name="connsiteX3" fmla="*/ 104673 w 2275119"/>
              <a:gd name="connsiteY3" fmla="*/ 4815592 h 4820878"/>
              <a:gd name="connsiteX4" fmla="*/ 0 w 2275119"/>
              <a:gd name="connsiteY4" fmla="*/ 4820878 h 4820878"/>
              <a:gd name="connsiteX5" fmla="*/ 0 w 2275119"/>
              <a:gd name="connsiteY5" fmla="*/ 0 h 482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5119" h="4820878">
                <a:moveTo>
                  <a:pt x="0" y="0"/>
                </a:moveTo>
                <a:lnTo>
                  <a:pt x="104673" y="5286"/>
                </a:lnTo>
                <a:cubicBezTo>
                  <a:pt x="1323780" y="129093"/>
                  <a:pt x="2275119" y="1158668"/>
                  <a:pt x="2275119" y="2410439"/>
                </a:cubicBezTo>
                <a:cubicBezTo>
                  <a:pt x="2275119" y="3662211"/>
                  <a:pt x="1323780" y="4691785"/>
                  <a:pt x="104673" y="4815592"/>
                </a:cubicBezTo>
                <a:lnTo>
                  <a:pt x="0" y="4820878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 l="-2294" t="16876" r="-78860" b="-1623"/>
            </a:stretch>
          </a:blip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Block Arc 7">
            <a:extLst>
              <a:ext uri="{FF2B5EF4-FFF2-40B4-BE49-F238E27FC236}">
                <a16:creationId xmlns:a16="http://schemas.microsoft.com/office/drawing/2014/main" id="{9006B16B-7189-CC21-7888-92E817DF6379}"/>
              </a:ext>
            </a:extLst>
          </p:cNvPr>
          <p:cNvSpPr/>
          <p:nvPr/>
        </p:nvSpPr>
        <p:spPr>
          <a:xfrm rot="9673331">
            <a:off x="4704869" y="144930"/>
            <a:ext cx="6600450" cy="6600450"/>
          </a:xfrm>
          <a:prstGeom prst="blockArc">
            <a:avLst>
              <a:gd name="adj1" fmla="val 13546539"/>
              <a:gd name="adj2" fmla="val 16346569"/>
              <a:gd name="adj3" fmla="val 5904"/>
            </a:avLst>
          </a:prstGeom>
          <a:pattFill prst="ltDnDiag">
            <a:fgClr>
              <a:schemeClr val="bg1"/>
            </a:fgClr>
            <a:bgClr>
              <a:schemeClr val="accent6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13E07904-F0E0-29EF-8212-1CB8FCDE75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75" y="406404"/>
            <a:ext cx="5943600" cy="68580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6"/>
                </a:solidFill>
                <a:latin typeface="Stratum2 Bold" panose="020B0506030000020004" pitchFamily="34" charset="77"/>
              </a:defRPr>
            </a:lvl1pPr>
          </a:lstStyle>
          <a:p>
            <a:r>
              <a:rPr lang="en-US"/>
              <a:t>1 COLUMN, V7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267C898D-A00D-F2A6-3C23-2E256B4556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7275" y="2743200"/>
            <a:ext cx="6210300" cy="210978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orem ipsum dolor si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me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cte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dipiscing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ed do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iusmo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tempo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ncidid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labore et dolore magna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Ut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ad minim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nia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qu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ostrud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ercitati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llamc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i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is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u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liquip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ex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mmodo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onsequ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Duis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u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irur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reprehender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oluptat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ve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se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ill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dolore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u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fugi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null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ariat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xcepteur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si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ccaec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cupidata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non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proide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, sunt in culpa qui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officia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deserun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molli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ani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id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est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laborum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Kievit Offc" panose="020B0504030101020102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24554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E20322D-D2B8-44F2-9325-A47D03EF0C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25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E20322D-D2B8-44F2-9325-A47D03EF0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B2B765F-6F86-41CB-BB83-F49F69A332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92752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 marL="283464" indent="-283464">
              <a:spcAft>
                <a:spcPts val="1200"/>
              </a:spcAft>
              <a:defRPr/>
            </a:lvl3pPr>
            <a:lvl4pPr indent="-283464">
              <a:spcAft>
                <a:spcPts val="1200"/>
              </a:spcAft>
              <a:defRPr/>
            </a:lvl4pPr>
            <a:lvl5pPr indent="-283464">
              <a:spcAft>
                <a:spcPts val="12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4E62995-DFC7-5BAA-4E6A-EB9F5F8DC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58788"/>
            <a:ext cx="11252200" cy="692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6272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81B5D824-FFAE-E318-F9CE-251002B556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458788"/>
            <a:ext cx="112522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23368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 marL="283464" indent="-283464">
              <a:spcAft>
                <a:spcPts val="1200"/>
              </a:spcAft>
              <a:defRPr/>
            </a:lvl3pPr>
            <a:lvl4pPr indent="-283464">
              <a:spcAft>
                <a:spcPts val="1200"/>
              </a:spcAft>
              <a:defRPr/>
            </a:lvl4pPr>
            <a:lvl5pPr indent="-283464">
              <a:spcAft>
                <a:spcPts val="12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4E62995-DFC7-5BAA-4E6A-EB9F5F8DC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58788"/>
            <a:ext cx="11252200" cy="692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3544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1264942"/>
            <a:ext cx="5410947" cy="286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A77F2668-1FBC-D9E1-569F-EBAB4D35EDC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9900" y="1665818"/>
            <a:ext cx="5410947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 marL="283464" indent="-283464">
              <a:spcAft>
                <a:spcPts val="1200"/>
              </a:spcAft>
              <a:defRPr/>
            </a:lvl3pPr>
            <a:lvl4pPr indent="-283464">
              <a:spcAft>
                <a:spcPts val="1200"/>
              </a:spcAft>
              <a:defRPr/>
            </a:lvl4pPr>
            <a:lvl5pPr indent="-283464">
              <a:spcAft>
                <a:spcPts val="12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8D4B8F4-AD0C-4806-1D58-6F3B72F6B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58788"/>
            <a:ext cx="11252200" cy="692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A81CA01-AA8E-F633-AB09-C219BFE1B473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311155" y="1264942"/>
            <a:ext cx="5410947" cy="286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EB31175-EBAA-6E8E-405D-9E035CDE19D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11153" y="1665818"/>
            <a:ext cx="5410947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 marL="283464" indent="-283464">
              <a:spcAft>
                <a:spcPts val="1200"/>
              </a:spcAft>
              <a:defRPr/>
            </a:lvl3pPr>
            <a:lvl4pPr indent="-283464">
              <a:spcAft>
                <a:spcPts val="1200"/>
              </a:spcAft>
              <a:defRPr/>
            </a:lvl4pPr>
            <a:lvl5pPr indent="-283464">
              <a:spcAft>
                <a:spcPts val="12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00835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522818" y="1154113"/>
            <a:ext cx="5353049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lnSpc>
                <a:spcPct val="106000"/>
              </a:lnSpc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pPr>
            <a:endParaRPr lang="en-US" sz="1000"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4256" y="1152144"/>
            <a:ext cx="5352288" cy="5138928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6315456" y="1152144"/>
            <a:ext cx="5352288" cy="513892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524256" y="256032"/>
            <a:ext cx="11131296" cy="521208"/>
          </a:xfrm>
          <a:prstGeom prst="rect">
            <a:avLst/>
          </a:prstGeo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0585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637" y="569113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716508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308060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AB5CB32-C13C-C146-926D-6D654A3DAA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16900" y="0"/>
            <a:ext cx="3975100" cy="6858000"/>
          </a:xfrm>
          <a:prstGeom prst="rect">
            <a:avLst/>
          </a:prstGeom>
          <a:pattFill prst="pct30">
            <a:fgClr>
              <a:schemeClr val="accent3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4543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5" b="1656"/>
          <a:stretch/>
        </p:blipFill>
        <p:spPr>
          <a:xfrm>
            <a:off x="3767548" y="0"/>
            <a:ext cx="8442371" cy="6858000"/>
          </a:xfrm>
          <a:prstGeom prst="rect">
            <a:avLst/>
          </a:prstGeom>
        </p:spPr>
      </p:pic>
      <p:sp>
        <p:nvSpPr>
          <p:cNvPr id="39" name="Picture Placehold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57957" y="-10632"/>
            <a:ext cx="6141447" cy="6876034"/>
          </a:xfrm>
          <a:custGeom>
            <a:avLst/>
            <a:gdLst>
              <a:gd name="connsiteX0" fmla="*/ 0 w 6137275"/>
              <a:gd name="connsiteY0" fmla="*/ 1534319 h 6858000"/>
              <a:gd name="connsiteX1" fmla="*/ 1534319 w 6137275"/>
              <a:gd name="connsiteY1" fmla="*/ 1534319 h 6858000"/>
              <a:gd name="connsiteX2" fmla="*/ 1534319 w 6137275"/>
              <a:gd name="connsiteY2" fmla="*/ 0 h 6858000"/>
              <a:gd name="connsiteX3" fmla="*/ 4602956 w 6137275"/>
              <a:gd name="connsiteY3" fmla="*/ 0 h 6858000"/>
              <a:gd name="connsiteX4" fmla="*/ 4602956 w 6137275"/>
              <a:gd name="connsiteY4" fmla="*/ 1534319 h 6858000"/>
              <a:gd name="connsiteX5" fmla="*/ 6137275 w 6137275"/>
              <a:gd name="connsiteY5" fmla="*/ 1534319 h 6858000"/>
              <a:gd name="connsiteX6" fmla="*/ 6137275 w 6137275"/>
              <a:gd name="connsiteY6" fmla="*/ 5323681 h 6858000"/>
              <a:gd name="connsiteX7" fmla="*/ 4602956 w 6137275"/>
              <a:gd name="connsiteY7" fmla="*/ 5323681 h 6858000"/>
              <a:gd name="connsiteX8" fmla="*/ 4602956 w 6137275"/>
              <a:gd name="connsiteY8" fmla="*/ 6858000 h 6858000"/>
              <a:gd name="connsiteX9" fmla="*/ 1534319 w 6137275"/>
              <a:gd name="connsiteY9" fmla="*/ 6858000 h 6858000"/>
              <a:gd name="connsiteX10" fmla="*/ 1534319 w 6137275"/>
              <a:gd name="connsiteY10" fmla="*/ 5323681 h 6858000"/>
              <a:gd name="connsiteX11" fmla="*/ 0 w 6137275"/>
              <a:gd name="connsiteY11" fmla="*/ 5323681 h 6858000"/>
              <a:gd name="connsiteX12" fmla="*/ 0 w 6137275"/>
              <a:gd name="connsiteY12" fmla="*/ 1534319 h 6858000"/>
              <a:gd name="connsiteX0" fmla="*/ 489098 w 6137275"/>
              <a:gd name="connsiteY0" fmla="*/ 715612 h 6858000"/>
              <a:gd name="connsiteX1" fmla="*/ 1534319 w 6137275"/>
              <a:gd name="connsiteY1" fmla="*/ 1534319 h 6858000"/>
              <a:gd name="connsiteX2" fmla="*/ 1534319 w 6137275"/>
              <a:gd name="connsiteY2" fmla="*/ 0 h 6858000"/>
              <a:gd name="connsiteX3" fmla="*/ 4602956 w 6137275"/>
              <a:gd name="connsiteY3" fmla="*/ 0 h 6858000"/>
              <a:gd name="connsiteX4" fmla="*/ 4602956 w 6137275"/>
              <a:gd name="connsiteY4" fmla="*/ 1534319 h 6858000"/>
              <a:gd name="connsiteX5" fmla="*/ 6137275 w 6137275"/>
              <a:gd name="connsiteY5" fmla="*/ 1534319 h 6858000"/>
              <a:gd name="connsiteX6" fmla="*/ 6137275 w 6137275"/>
              <a:gd name="connsiteY6" fmla="*/ 5323681 h 6858000"/>
              <a:gd name="connsiteX7" fmla="*/ 4602956 w 6137275"/>
              <a:gd name="connsiteY7" fmla="*/ 5323681 h 6858000"/>
              <a:gd name="connsiteX8" fmla="*/ 4602956 w 6137275"/>
              <a:gd name="connsiteY8" fmla="*/ 6858000 h 6858000"/>
              <a:gd name="connsiteX9" fmla="*/ 1534319 w 6137275"/>
              <a:gd name="connsiteY9" fmla="*/ 6858000 h 6858000"/>
              <a:gd name="connsiteX10" fmla="*/ 1534319 w 6137275"/>
              <a:gd name="connsiteY10" fmla="*/ 5323681 h 6858000"/>
              <a:gd name="connsiteX11" fmla="*/ 0 w 6137275"/>
              <a:gd name="connsiteY11" fmla="*/ 5323681 h 6858000"/>
              <a:gd name="connsiteX12" fmla="*/ 489098 w 6137275"/>
              <a:gd name="connsiteY12" fmla="*/ 715612 h 6858000"/>
              <a:gd name="connsiteX0" fmla="*/ 0 w 5648177"/>
              <a:gd name="connsiteY0" fmla="*/ 715612 h 6858000"/>
              <a:gd name="connsiteX1" fmla="*/ 1045221 w 5648177"/>
              <a:gd name="connsiteY1" fmla="*/ 1534319 h 6858000"/>
              <a:gd name="connsiteX2" fmla="*/ 1045221 w 5648177"/>
              <a:gd name="connsiteY2" fmla="*/ 0 h 6858000"/>
              <a:gd name="connsiteX3" fmla="*/ 4113858 w 5648177"/>
              <a:gd name="connsiteY3" fmla="*/ 0 h 6858000"/>
              <a:gd name="connsiteX4" fmla="*/ 4113858 w 5648177"/>
              <a:gd name="connsiteY4" fmla="*/ 1534319 h 6858000"/>
              <a:gd name="connsiteX5" fmla="*/ 5648177 w 5648177"/>
              <a:gd name="connsiteY5" fmla="*/ 1534319 h 6858000"/>
              <a:gd name="connsiteX6" fmla="*/ 5648177 w 5648177"/>
              <a:gd name="connsiteY6" fmla="*/ 5323681 h 6858000"/>
              <a:gd name="connsiteX7" fmla="*/ 4113858 w 5648177"/>
              <a:gd name="connsiteY7" fmla="*/ 5323681 h 6858000"/>
              <a:gd name="connsiteX8" fmla="*/ 4113858 w 5648177"/>
              <a:gd name="connsiteY8" fmla="*/ 6858000 h 6858000"/>
              <a:gd name="connsiteX9" fmla="*/ 1045221 w 5648177"/>
              <a:gd name="connsiteY9" fmla="*/ 6858000 h 6858000"/>
              <a:gd name="connsiteX10" fmla="*/ 1045221 w 5648177"/>
              <a:gd name="connsiteY10" fmla="*/ 5323681 h 6858000"/>
              <a:gd name="connsiteX11" fmla="*/ 10632 w 5648177"/>
              <a:gd name="connsiteY11" fmla="*/ 6131755 h 6858000"/>
              <a:gd name="connsiteX12" fmla="*/ 0 w 5648177"/>
              <a:gd name="connsiteY12" fmla="*/ 715612 h 6858000"/>
              <a:gd name="connsiteX0" fmla="*/ 485868 w 6134045"/>
              <a:gd name="connsiteY0" fmla="*/ 715612 h 6858000"/>
              <a:gd name="connsiteX1" fmla="*/ 1531089 w 6134045"/>
              <a:gd name="connsiteY1" fmla="*/ 1534319 h 6858000"/>
              <a:gd name="connsiteX2" fmla="*/ 1531089 w 6134045"/>
              <a:gd name="connsiteY2" fmla="*/ 0 h 6858000"/>
              <a:gd name="connsiteX3" fmla="*/ 4599726 w 6134045"/>
              <a:gd name="connsiteY3" fmla="*/ 0 h 6858000"/>
              <a:gd name="connsiteX4" fmla="*/ 4599726 w 6134045"/>
              <a:gd name="connsiteY4" fmla="*/ 1534319 h 6858000"/>
              <a:gd name="connsiteX5" fmla="*/ 6134045 w 6134045"/>
              <a:gd name="connsiteY5" fmla="*/ 1534319 h 6858000"/>
              <a:gd name="connsiteX6" fmla="*/ 6134045 w 6134045"/>
              <a:gd name="connsiteY6" fmla="*/ 5323681 h 6858000"/>
              <a:gd name="connsiteX7" fmla="*/ 4599726 w 6134045"/>
              <a:gd name="connsiteY7" fmla="*/ 5323681 h 6858000"/>
              <a:gd name="connsiteX8" fmla="*/ 4599726 w 6134045"/>
              <a:gd name="connsiteY8" fmla="*/ 6858000 h 6858000"/>
              <a:gd name="connsiteX9" fmla="*/ 1531089 w 6134045"/>
              <a:gd name="connsiteY9" fmla="*/ 6858000 h 6858000"/>
              <a:gd name="connsiteX10" fmla="*/ 0 w 6134045"/>
              <a:gd name="connsiteY10" fmla="*/ 6131755 h 6858000"/>
              <a:gd name="connsiteX11" fmla="*/ 496500 w 6134045"/>
              <a:gd name="connsiteY11" fmla="*/ 6131755 h 6858000"/>
              <a:gd name="connsiteX12" fmla="*/ 485868 w 6134045"/>
              <a:gd name="connsiteY12" fmla="*/ 715612 h 6858000"/>
              <a:gd name="connsiteX0" fmla="*/ 485868 w 6134045"/>
              <a:gd name="connsiteY0" fmla="*/ 715612 h 6858000"/>
              <a:gd name="connsiteX1" fmla="*/ 1531089 w 6134045"/>
              <a:gd name="connsiteY1" fmla="*/ 1534319 h 6858000"/>
              <a:gd name="connsiteX2" fmla="*/ 1531089 w 6134045"/>
              <a:gd name="connsiteY2" fmla="*/ 0 h 6858000"/>
              <a:gd name="connsiteX3" fmla="*/ 4599726 w 6134045"/>
              <a:gd name="connsiteY3" fmla="*/ 0 h 6858000"/>
              <a:gd name="connsiteX4" fmla="*/ 4599726 w 6134045"/>
              <a:gd name="connsiteY4" fmla="*/ 1534319 h 6858000"/>
              <a:gd name="connsiteX5" fmla="*/ 6134045 w 6134045"/>
              <a:gd name="connsiteY5" fmla="*/ 1534319 h 6858000"/>
              <a:gd name="connsiteX6" fmla="*/ 6134045 w 6134045"/>
              <a:gd name="connsiteY6" fmla="*/ 5323681 h 6858000"/>
              <a:gd name="connsiteX7" fmla="*/ 4599726 w 6134045"/>
              <a:gd name="connsiteY7" fmla="*/ 5323681 h 6858000"/>
              <a:gd name="connsiteX8" fmla="*/ 4599726 w 6134045"/>
              <a:gd name="connsiteY8" fmla="*/ 6858000 h 6858000"/>
              <a:gd name="connsiteX9" fmla="*/ 1 w 6134045"/>
              <a:gd name="connsiteY9" fmla="*/ 6858000 h 6858000"/>
              <a:gd name="connsiteX10" fmla="*/ 0 w 6134045"/>
              <a:gd name="connsiteY10" fmla="*/ 6131755 h 6858000"/>
              <a:gd name="connsiteX11" fmla="*/ 496500 w 6134045"/>
              <a:gd name="connsiteY11" fmla="*/ 6131755 h 6858000"/>
              <a:gd name="connsiteX12" fmla="*/ 485868 w 6134045"/>
              <a:gd name="connsiteY12" fmla="*/ 715612 h 6858000"/>
              <a:gd name="connsiteX0" fmla="*/ 496500 w 6144677"/>
              <a:gd name="connsiteY0" fmla="*/ 715612 h 6858000"/>
              <a:gd name="connsiteX1" fmla="*/ 0 w 6144677"/>
              <a:gd name="connsiteY1" fmla="*/ 715612 h 6858000"/>
              <a:gd name="connsiteX2" fmla="*/ 1541721 w 6144677"/>
              <a:gd name="connsiteY2" fmla="*/ 0 h 6858000"/>
              <a:gd name="connsiteX3" fmla="*/ 4610358 w 6144677"/>
              <a:gd name="connsiteY3" fmla="*/ 0 h 6858000"/>
              <a:gd name="connsiteX4" fmla="*/ 4610358 w 6144677"/>
              <a:gd name="connsiteY4" fmla="*/ 1534319 h 6858000"/>
              <a:gd name="connsiteX5" fmla="*/ 6144677 w 6144677"/>
              <a:gd name="connsiteY5" fmla="*/ 1534319 h 6858000"/>
              <a:gd name="connsiteX6" fmla="*/ 6144677 w 6144677"/>
              <a:gd name="connsiteY6" fmla="*/ 5323681 h 6858000"/>
              <a:gd name="connsiteX7" fmla="*/ 4610358 w 6144677"/>
              <a:gd name="connsiteY7" fmla="*/ 5323681 h 6858000"/>
              <a:gd name="connsiteX8" fmla="*/ 4610358 w 6144677"/>
              <a:gd name="connsiteY8" fmla="*/ 6858000 h 6858000"/>
              <a:gd name="connsiteX9" fmla="*/ 10633 w 6144677"/>
              <a:gd name="connsiteY9" fmla="*/ 6858000 h 6858000"/>
              <a:gd name="connsiteX10" fmla="*/ 10632 w 6144677"/>
              <a:gd name="connsiteY10" fmla="*/ 6131755 h 6858000"/>
              <a:gd name="connsiteX11" fmla="*/ 507132 w 6144677"/>
              <a:gd name="connsiteY11" fmla="*/ 6131755 h 6858000"/>
              <a:gd name="connsiteX12" fmla="*/ 496500 w 6144677"/>
              <a:gd name="connsiteY12" fmla="*/ 715612 h 6858000"/>
              <a:gd name="connsiteX0" fmla="*/ 496500 w 6144677"/>
              <a:gd name="connsiteY0" fmla="*/ 736877 h 6879265"/>
              <a:gd name="connsiteX1" fmla="*/ 0 w 6144677"/>
              <a:gd name="connsiteY1" fmla="*/ 736877 h 6879265"/>
              <a:gd name="connsiteX2" fmla="*/ 10633 w 6144677"/>
              <a:gd name="connsiteY2" fmla="*/ 0 h 6879265"/>
              <a:gd name="connsiteX3" fmla="*/ 4610358 w 6144677"/>
              <a:gd name="connsiteY3" fmla="*/ 21265 h 6879265"/>
              <a:gd name="connsiteX4" fmla="*/ 4610358 w 6144677"/>
              <a:gd name="connsiteY4" fmla="*/ 1555584 h 6879265"/>
              <a:gd name="connsiteX5" fmla="*/ 6144677 w 6144677"/>
              <a:gd name="connsiteY5" fmla="*/ 1555584 h 6879265"/>
              <a:gd name="connsiteX6" fmla="*/ 6144677 w 6144677"/>
              <a:gd name="connsiteY6" fmla="*/ 5344946 h 6879265"/>
              <a:gd name="connsiteX7" fmla="*/ 4610358 w 6144677"/>
              <a:gd name="connsiteY7" fmla="*/ 5344946 h 6879265"/>
              <a:gd name="connsiteX8" fmla="*/ 4610358 w 6144677"/>
              <a:gd name="connsiteY8" fmla="*/ 6879265 h 6879265"/>
              <a:gd name="connsiteX9" fmla="*/ 10633 w 6144677"/>
              <a:gd name="connsiteY9" fmla="*/ 6879265 h 6879265"/>
              <a:gd name="connsiteX10" fmla="*/ 10632 w 6144677"/>
              <a:gd name="connsiteY10" fmla="*/ 6153020 h 6879265"/>
              <a:gd name="connsiteX11" fmla="*/ 507132 w 6144677"/>
              <a:gd name="connsiteY11" fmla="*/ 6153020 h 6879265"/>
              <a:gd name="connsiteX12" fmla="*/ 496500 w 6144677"/>
              <a:gd name="connsiteY12" fmla="*/ 736877 h 6879265"/>
              <a:gd name="connsiteX0" fmla="*/ 496500 w 6144677"/>
              <a:gd name="connsiteY0" fmla="*/ 726244 h 6868632"/>
              <a:gd name="connsiteX1" fmla="*/ 0 w 6144677"/>
              <a:gd name="connsiteY1" fmla="*/ 726244 h 6868632"/>
              <a:gd name="connsiteX2" fmla="*/ 10633 w 6144677"/>
              <a:gd name="connsiteY2" fmla="*/ 0 h 6868632"/>
              <a:gd name="connsiteX3" fmla="*/ 4610358 w 6144677"/>
              <a:gd name="connsiteY3" fmla="*/ 10632 h 6868632"/>
              <a:gd name="connsiteX4" fmla="*/ 4610358 w 6144677"/>
              <a:gd name="connsiteY4" fmla="*/ 1544951 h 6868632"/>
              <a:gd name="connsiteX5" fmla="*/ 6144677 w 6144677"/>
              <a:gd name="connsiteY5" fmla="*/ 1544951 h 6868632"/>
              <a:gd name="connsiteX6" fmla="*/ 6144677 w 6144677"/>
              <a:gd name="connsiteY6" fmla="*/ 5334313 h 6868632"/>
              <a:gd name="connsiteX7" fmla="*/ 4610358 w 6144677"/>
              <a:gd name="connsiteY7" fmla="*/ 5334313 h 6868632"/>
              <a:gd name="connsiteX8" fmla="*/ 4610358 w 6144677"/>
              <a:gd name="connsiteY8" fmla="*/ 6868632 h 6868632"/>
              <a:gd name="connsiteX9" fmla="*/ 10633 w 6144677"/>
              <a:gd name="connsiteY9" fmla="*/ 6868632 h 6868632"/>
              <a:gd name="connsiteX10" fmla="*/ 10632 w 6144677"/>
              <a:gd name="connsiteY10" fmla="*/ 6142387 h 6868632"/>
              <a:gd name="connsiteX11" fmla="*/ 507132 w 6144677"/>
              <a:gd name="connsiteY11" fmla="*/ 6142387 h 6868632"/>
              <a:gd name="connsiteX12" fmla="*/ 496500 w 6144677"/>
              <a:gd name="connsiteY12" fmla="*/ 726244 h 6868632"/>
              <a:gd name="connsiteX0" fmla="*/ 485868 w 6134045"/>
              <a:gd name="connsiteY0" fmla="*/ 726244 h 6868632"/>
              <a:gd name="connsiteX1" fmla="*/ 10634 w 6134045"/>
              <a:gd name="connsiteY1" fmla="*/ 726244 h 6868632"/>
              <a:gd name="connsiteX2" fmla="*/ 1 w 6134045"/>
              <a:gd name="connsiteY2" fmla="*/ 0 h 6868632"/>
              <a:gd name="connsiteX3" fmla="*/ 4599726 w 6134045"/>
              <a:gd name="connsiteY3" fmla="*/ 10632 h 6868632"/>
              <a:gd name="connsiteX4" fmla="*/ 4599726 w 6134045"/>
              <a:gd name="connsiteY4" fmla="*/ 1544951 h 6868632"/>
              <a:gd name="connsiteX5" fmla="*/ 6134045 w 6134045"/>
              <a:gd name="connsiteY5" fmla="*/ 1544951 h 6868632"/>
              <a:gd name="connsiteX6" fmla="*/ 6134045 w 6134045"/>
              <a:gd name="connsiteY6" fmla="*/ 5334313 h 6868632"/>
              <a:gd name="connsiteX7" fmla="*/ 4599726 w 6134045"/>
              <a:gd name="connsiteY7" fmla="*/ 5334313 h 6868632"/>
              <a:gd name="connsiteX8" fmla="*/ 4599726 w 6134045"/>
              <a:gd name="connsiteY8" fmla="*/ 6868632 h 6868632"/>
              <a:gd name="connsiteX9" fmla="*/ 1 w 6134045"/>
              <a:gd name="connsiteY9" fmla="*/ 6868632 h 6868632"/>
              <a:gd name="connsiteX10" fmla="*/ 0 w 6134045"/>
              <a:gd name="connsiteY10" fmla="*/ 6142387 h 6868632"/>
              <a:gd name="connsiteX11" fmla="*/ 496500 w 6134045"/>
              <a:gd name="connsiteY11" fmla="*/ 6142387 h 6868632"/>
              <a:gd name="connsiteX12" fmla="*/ 485868 w 6134045"/>
              <a:gd name="connsiteY12" fmla="*/ 726244 h 6868632"/>
              <a:gd name="connsiteX0" fmla="*/ 485868 w 6134045"/>
              <a:gd name="connsiteY0" fmla="*/ 726244 h 6868632"/>
              <a:gd name="connsiteX1" fmla="*/ 2 w 6134045"/>
              <a:gd name="connsiteY1" fmla="*/ 726244 h 6868632"/>
              <a:gd name="connsiteX2" fmla="*/ 1 w 6134045"/>
              <a:gd name="connsiteY2" fmla="*/ 0 h 6868632"/>
              <a:gd name="connsiteX3" fmla="*/ 4599726 w 6134045"/>
              <a:gd name="connsiteY3" fmla="*/ 10632 h 6868632"/>
              <a:gd name="connsiteX4" fmla="*/ 4599726 w 6134045"/>
              <a:gd name="connsiteY4" fmla="*/ 1544951 h 6868632"/>
              <a:gd name="connsiteX5" fmla="*/ 6134045 w 6134045"/>
              <a:gd name="connsiteY5" fmla="*/ 1544951 h 6868632"/>
              <a:gd name="connsiteX6" fmla="*/ 6134045 w 6134045"/>
              <a:gd name="connsiteY6" fmla="*/ 5334313 h 6868632"/>
              <a:gd name="connsiteX7" fmla="*/ 4599726 w 6134045"/>
              <a:gd name="connsiteY7" fmla="*/ 5334313 h 6868632"/>
              <a:gd name="connsiteX8" fmla="*/ 4599726 w 6134045"/>
              <a:gd name="connsiteY8" fmla="*/ 6868632 h 6868632"/>
              <a:gd name="connsiteX9" fmla="*/ 1 w 6134045"/>
              <a:gd name="connsiteY9" fmla="*/ 6868632 h 6868632"/>
              <a:gd name="connsiteX10" fmla="*/ 0 w 6134045"/>
              <a:gd name="connsiteY10" fmla="*/ 6142387 h 6868632"/>
              <a:gd name="connsiteX11" fmla="*/ 496500 w 6134045"/>
              <a:gd name="connsiteY11" fmla="*/ 6142387 h 6868632"/>
              <a:gd name="connsiteX12" fmla="*/ 485868 w 6134045"/>
              <a:gd name="connsiteY12" fmla="*/ 726244 h 6868632"/>
              <a:gd name="connsiteX0" fmla="*/ 485868 w 6141447"/>
              <a:gd name="connsiteY0" fmla="*/ 726244 h 6868632"/>
              <a:gd name="connsiteX1" fmla="*/ 2 w 6141447"/>
              <a:gd name="connsiteY1" fmla="*/ 726244 h 6868632"/>
              <a:gd name="connsiteX2" fmla="*/ 1 w 6141447"/>
              <a:gd name="connsiteY2" fmla="*/ 0 h 6868632"/>
              <a:gd name="connsiteX3" fmla="*/ 4599726 w 6141447"/>
              <a:gd name="connsiteY3" fmla="*/ 10632 h 6868632"/>
              <a:gd name="connsiteX4" fmla="*/ 6141447 w 6141447"/>
              <a:gd name="connsiteY4" fmla="*/ 24495 h 6868632"/>
              <a:gd name="connsiteX5" fmla="*/ 6134045 w 6141447"/>
              <a:gd name="connsiteY5" fmla="*/ 1544951 h 6868632"/>
              <a:gd name="connsiteX6" fmla="*/ 6134045 w 6141447"/>
              <a:gd name="connsiteY6" fmla="*/ 5334313 h 6868632"/>
              <a:gd name="connsiteX7" fmla="*/ 4599726 w 6141447"/>
              <a:gd name="connsiteY7" fmla="*/ 5334313 h 6868632"/>
              <a:gd name="connsiteX8" fmla="*/ 4599726 w 6141447"/>
              <a:gd name="connsiteY8" fmla="*/ 6868632 h 6868632"/>
              <a:gd name="connsiteX9" fmla="*/ 1 w 6141447"/>
              <a:gd name="connsiteY9" fmla="*/ 6868632 h 6868632"/>
              <a:gd name="connsiteX10" fmla="*/ 0 w 6141447"/>
              <a:gd name="connsiteY10" fmla="*/ 6142387 h 6868632"/>
              <a:gd name="connsiteX11" fmla="*/ 496500 w 6141447"/>
              <a:gd name="connsiteY11" fmla="*/ 6142387 h 6868632"/>
              <a:gd name="connsiteX12" fmla="*/ 485868 w 6141447"/>
              <a:gd name="connsiteY12" fmla="*/ 726244 h 6868632"/>
              <a:gd name="connsiteX0" fmla="*/ 485868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496500 w 6141447"/>
              <a:gd name="connsiteY11" fmla="*/ 6142387 h 6876034"/>
              <a:gd name="connsiteX12" fmla="*/ 485868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496500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34953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34953 h 6876034"/>
              <a:gd name="connsiteX0" fmla="*/ 849299 w 6141447"/>
              <a:gd name="connsiteY0" fmla="*/ 734953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49299 w 6141447"/>
              <a:gd name="connsiteY12" fmla="*/ 734953 h 687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41447" h="6876034">
                <a:moveTo>
                  <a:pt x="849299" y="734953"/>
                </a:moveTo>
                <a:lnTo>
                  <a:pt x="2" y="734953"/>
                </a:lnTo>
                <a:cubicBezTo>
                  <a:pt x="2" y="492872"/>
                  <a:pt x="1" y="242081"/>
                  <a:pt x="1" y="0"/>
                </a:cubicBezTo>
                <a:lnTo>
                  <a:pt x="4599726" y="10632"/>
                </a:lnTo>
                <a:lnTo>
                  <a:pt x="6141447" y="24495"/>
                </a:lnTo>
                <a:cubicBezTo>
                  <a:pt x="6138980" y="531314"/>
                  <a:pt x="6136512" y="1038132"/>
                  <a:pt x="6134045" y="1544951"/>
                </a:cubicBezTo>
                <a:lnTo>
                  <a:pt x="6134045" y="5334313"/>
                </a:lnTo>
                <a:cubicBezTo>
                  <a:pt x="6136512" y="5848220"/>
                  <a:pt x="6138980" y="6362127"/>
                  <a:pt x="6141447" y="6876034"/>
                </a:cubicBezTo>
                <a:lnTo>
                  <a:pt x="4599726" y="6868632"/>
                </a:lnTo>
                <a:lnTo>
                  <a:pt x="1" y="6868632"/>
                </a:lnTo>
                <a:cubicBezTo>
                  <a:pt x="1" y="6626550"/>
                  <a:pt x="0" y="6384469"/>
                  <a:pt x="0" y="6142387"/>
                </a:cubicBezTo>
                <a:lnTo>
                  <a:pt x="847374" y="6142387"/>
                </a:lnTo>
                <a:cubicBezTo>
                  <a:pt x="850918" y="4337006"/>
                  <a:pt x="845755" y="2540334"/>
                  <a:pt x="849299" y="734953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483325" y="0"/>
            <a:ext cx="4572003" cy="6858000"/>
            <a:chOff x="0" y="0"/>
            <a:chExt cx="4572002" cy="6858000"/>
          </a:xfrm>
        </p:grpSpPr>
        <p:sp>
          <p:nvSpPr>
            <p:cNvPr id="41" name="Rectangle 40"/>
            <p:cNvSpPr/>
            <p:nvPr/>
          </p:nvSpPr>
          <p:spPr>
            <a:xfrm>
              <a:off x="0" y="0"/>
              <a:ext cx="4572002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/>
                <a:t>v</a:t>
              </a: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88"/>
            <a:stretch>
              <a:fillRect/>
            </a:stretch>
          </p:blipFill>
          <p:spPr>
            <a:xfrm>
              <a:off x="0" y="0"/>
              <a:ext cx="4572001" cy="6858000"/>
            </a:xfrm>
            <a:custGeom>
              <a:avLst/>
              <a:gdLst>
                <a:gd name="connsiteX0" fmla="*/ 0 w 4572001"/>
                <a:gd name="connsiteY0" fmla="*/ 0 h 6858000"/>
                <a:gd name="connsiteX1" fmla="*/ 4572001 w 4572001"/>
                <a:gd name="connsiteY1" fmla="*/ 0 h 6858000"/>
                <a:gd name="connsiteX2" fmla="*/ 4572001 w 4572001"/>
                <a:gd name="connsiteY2" fmla="*/ 6858000 h 6858000"/>
                <a:gd name="connsiteX3" fmla="*/ 0 w 4572001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1" h="6858000">
                  <a:moveTo>
                    <a:pt x="0" y="0"/>
                  </a:moveTo>
                  <a:lnTo>
                    <a:pt x="4572001" y="0"/>
                  </a:lnTo>
                  <a:lnTo>
                    <a:pt x="4572001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</p:grpSp>
      <p:grpSp>
        <p:nvGrpSpPr>
          <p:cNvPr id="43" name="Group 42"/>
          <p:cNvGrpSpPr/>
          <p:nvPr userDrawn="1"/>
        </p:nvGrpSpPr>
        <p:grpSpPr>
          <a:xfrm>
            <a:off x="0" y="0"/>
            <a:ext cx="4572003" cy="6858000"/>
            <a:chOff x="0" y="0"/>
            <a:chExt cx="4572002" cy="6858000"/>
          </a:xfrm>
        </p:grpSpPr>
        <p:sp>
          <p:nvSpPr>
            <p:cNvPr id="44" name="Rectangle 43"/>
            <p:cNvSpPr/>
            <p:nvPr/>
          </p:nvSpPr>
          <p:spPr>
            <a:xfrm>
              <a:off x="0" y="0"/>
              <a:ext cx="4572002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/>
                <a:t>v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88"/>
            <a:stretch>
              <a:fillRect/>
            </a:stretch>
          </p:blipFill>
          <p:spPr>
            <a:xfrm>
              <a:off x="0" y="0"/>
              <a:ext cx="4572001" cy="6858000"/>
            </a:xfrm>
            <a:custGeom>
              <a:avLst/>
              <a:gdLst>
                <a:gd name="connsiteX0" fmla="*/ 0 w 4572001"/>
                <a:gd name="connsiteY0" fmla="*/ 0 h 6858000"/>
                <a:gd name="connsiteX1" fmla="*/ 4572001 w 4572001"/>
                <a:gd name="connsiteY1" fmla="*/ 0 h 6858000"/>
                <a:gd name="connsiteX2" fmla="*/ 4572001 w 4572001"/>
                <a:gd name="connsiteY2" fmla="*/ 6858000 h 6858000"/>
                <a:gd name="connsiteX3" fmla="*/ 0 w 4572001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1" h="6858000">
                  <a:moveTo>
                    <a:pt x="0" y="0"/>
                  </a:moveTo>
                  <a:lnTo>
                    <a:pt x="4572001" y="0"/>
                  </a:lnTo>
                  <a:lnTo>
                    <a:pt x="4572001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</p:grpSp>
      <p:sp>
        <p:nvSpPr>
          <p:cNvPr id="46" name="Rectangle 45"/>
          <p:cNvSpPr/>
          <p:nvPr userDrawn="1"/>
        </p:nvSpPr>
        <p:spPr>
          <a:xfrm>
            <a:off x="1031359" y="723900"/>
            <a:ext cx="5879805" cy="541020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 </a:t>
            </a:r>
          </a:p>
        </p:txBody>
      </p:sp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1818169" y="1300440"/>
            <a:ext cx="4391247" cy="1046987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7" name="Oval 46"/>
          <p:cNvSpPr>
            <a:spLocks noChangeAspect="1"/>
          </p:cNvSpPr>
          <p:nvPr userDrawn="1"/>
        </p:nvSpPr>
        <p:spPr>
          <a:xfrm>
            <a:off x="659171" y="1153553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52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804877" y="1294946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18169" y="2519265"/>
            <a:ext cx="4391247" cy="3442996"/>
          </a:xfrm>
        </p:spPr>
        <p:txBody>
          <a:bodyPr anchor="t" anchorCtr="0"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892127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5AA2BD2-1AB7-4F10-AB88-AE04135DE577}"/>
              </a:ext>
            </a:extLst>
          </p:cNvPr>
          <p:cNvCxnSpPr/>
          <p:nvPr userDrawn="1"/>
        </p:nvCxnSpPr>
        <p:spPr>
          <a:xfrm flipV="1">
            <a:off x="435684" y="887604"/>
            <a:ext cx="11230984" cy="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280519D3-85A3-41CB-93DB-F30C5D7964FE}"/>
              </a:ext>
            </a:extLst>
          </p:cNvPr>
          <p:cNvSpPr txBox="1">
            <a:spLocks/>
          </p:cNvSpPr>
          <p:nvPr userDrawn="1"/>
        </p:nvSpPr>
        <p:spPr>
          <a:xfrm>
            <a:off x="435685" y="6217229"/>
            <a:ext cx="3155106" cy="365125"/>
          </a:xfrm>
          <a:prstGeom prst="rect">
            <a:avLst/>
          </a:prstGeom>
        </p:spPr>
        <p:txBody>
          <a:bodyPr vert="horz" lIns="80682" tIns="40341" rIns="80682" bIns="40341" rtlCol="0" anchor="b"/>
          <a:lstStyle>
            <a:defPPr>
              <a:defRPr lang="en-US"/>
            </a:defPPr>
            <a:lvl1pPr marL="0" algn="r" defTabSz="1018824" rtl="0" eaLnBrk="1" latinLnBrk="0" hangingPunct="1"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D228F5-9231-4F25-BD61-3BF7A2077253}" type="slidenum">
              <a:rPr lang="en-US" sz="882" smtClean="0">
                <a:solidFill>
                  <a:schemeClr val="bg1">
                    <a:lumMod val="50000"/>
                  </a:schemeClr>
                </a:solidFill>
              </a:rPr>
              <a:pPr algn="l"/>
              <a:t>‹#›</a:t>
            </a:fld>
            <a:endParaRPr lang="en-US" sz="882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6CEE249-AFA4-44D7-BD4A-67EE55EA555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3412" y="275645"/>
            <a:ext cx="11263255" cy="6233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CED87AB6-A4C6-4A01-8C4F-F752FB9B15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412" y="1097280"/>
            <a:ext cx="11263255" cy="54850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7770186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DF6EF3E-6609-7AF0-200F-C0F588B3FED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1400" y="152400"/>
            <a:ext cx="4648200" cy="6019800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816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1F9CB-C2DB-C85A-61CE-346DC6315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33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FAABF4-732E-B73D-B552-B89AC3994A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4394" y="1350406"/>
            <a:ext cx="10469406" cy="48808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4156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DF6EF3E-6609-7AF0-200F-C0F588B3FED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1400" y="152400"/>
            <a:ext cx="4648200" cy="6019800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0439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86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5" b="1656"/>
          <a:stretch/>
        </p:blipFill>
        <p:spPr>
          <a:xfrm>
            <a:off x="3767548" y="0"/>
            <a:ext cx="8442371" cy="6858000"/>
          </a:xfrm>
          <a:prstGeom prst="rect">
            <a:avLst/>
          </a:prstGeom>
        </p:spPr>
      </p:pic>
      <p:grpSp>
        <p:nvGrpSpPr>
          <p:cNvPr id="40" name="Group 39"/>
          <p:cNvGrpSpPr/>
          <p:nvPr userDrawn="1"/>
        </p:nvGrpSpPr>
        <p:grpSpPr>
          <a:xfrm>
            <a:off x="1483325" y="0"/>
            <a:ext cx="4572003" cy="6858000"/>
            <a:chOff x="0" y="0"/>
            <a:chExt cx="4572002" cy="6858000"/>
          </a:xfrm>
        </p:grpSpPr>
        <p:sp>
          <p:nvSpPr>
            <p:cNvPr id="41" name="Rectangle 40"/>
            <p:cNvSpPr/>
            <p:nvPr/>
          </p:nvSpPr>
          <p:spPr>
            <a:xfrm>
              <a:off x="0" y="0"/>
              <a:ext cx="4572002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/>
                <a:t>v</a:t>
              </a: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88"/>
            <a:stretch>
              <a:fillRect/>
            </a:stretch>
          </p:blipFill>
          <p:spPr>
            <a:xfrm>
              <a:off x="0" y="0"/>
              <a:ext cx="4572001" cy="6858000"/>
            </a:xfrm>
            <a:custGeom>
              <a:avLst/>
              <a:gdLst>
                <a:gd name="connsiteX0" fmla="*/ 0 w 4572001"/>
                <a:gd name="connsiteY0" fmla="*/ 0 h 6858000"/>
                <a:gd name="connsiteX1" fmla="*/ 4572001 w 4572001"/>
                <a:gd name="connsiteY1" fmla="*/ 0 h 6858000"/>
                <a:gd name="connsiteX2" fmla="*/ 4572001 w 4572001"/>
                <a:gd name="connsiteY2" fmla="*/ 6858000 h 6858000"/>
                <a:gd name="connsiteX3" fmla="*/ 0 w 4572001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1" h="6858000">
                  <a:moveTo>
                    <a:pt x="0" y="0"/>
                  </a:moveTo>
                  <a:lnTo>
                    <a:pt x="4572001" y="0"/>
                  </a:lnTo>
                  <a:lnTo>
                    <a:pt x="4572001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</p:grpSp>
      <p:grpSp>
        <p:nvGrpSpPr>
          <p:cNvPr id="43" name="Group 42"/>
          <p:cNvGrpSpPr/>
          <p:nvPr userDrawn="1"/>
        </p:nvGrpSpPr>
        <p:grpSpPr>
          <a:xfrm>
            <a:off x="0" y="0"/>
            <a:ext cx="4572003" cy="6858000"/>
            <a:chOff x="0" y="0"/>
            <a:chExt cx="4572002" cy="6858000"/>
          </a:xfrm>
        </p:grpSpPr>
        <p:sp>
          <p:nvSpPr>
            <p:cNvPr id="44" name="Rectangle 43"/>
            <p:cNvSpPr/>
            <p:nvPr/>
          </p:nvSpPr>
          <p:spPr>
            <a:xfrm>
              <a:off x="0" y="0"/>
              <a:ext cx="4572002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/>
                <a:t>v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88"/>
            <a:stretch>
              <a:fillRect/>
            </a:stretch>
          </p:blipFill>
          <p:spPr>
            <a:xfrm>
              <a:off x="0" y="0"/>
              <a:ext cx="4572001" cy="6858000"/>
            </a:xfrm>
            <a:custGeom>
              <a:avLst/>
              <a:gdLst>
                <a:gd name="connsiteX0" fmla="*/ 0 w 4572001"/>
                <a:gd name="connsiteY0" fmla="*/ 0 h 6858000"/>
                <a:gd name="connsiteX1" fmla="*/ 4572001 w 4572001"/>
                <a:gd name="connsiteY1" fmla="*/ 0 h 6858000"/>
                <a:gd name="connsiteX2" fmla="*/ 4572001 w 4572001"/>
                <a:gd name="connsiteY2" fmla="*/ 6858000 h 6858000"/>
                <a:gd name="connsiteX3" fmla="*/ 0 w 4572001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1" h="6858000">
                  <a:moveTo>
                    <a:pt x="0" y="0"/>
                  </a:moveTo>
                  <a:lnTo>
                    <a:pt x="4572001" y="0"/>
                  </a:lnTo>
                  <a:lnTo>
                    <a:pt x="4572001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</p:grpSp>
      <p:sp>
        <p:nvSpPr>
          <p:cNvPr id="46" name="Rectangle 45"/>
          <p:cNvSpPr/>
          <p:nvPr userDrawn="1"/>
        </p:nvSpPr>
        <p:spPr>
          <a:xfrm>
            <a:off x="1031359" y="723900"/>
            <a:ext cx="5879805" cy="5410200"/>
          </a:xfrm>
          <a:prstGeom prst="rect">
            <a:avLst/>
          </a:prstGeom>
          <a:solidFill>
            <a:schemeClr val="tx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 </a:t>
            </a:r>
          </a:p>
        </p:txBody>
      </p:sp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1818169" y="1300440"/>
            <a:ext cx="4391247" cy="104698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7" name="Oval 46"/>
          <p:cNvSpPr>
            <a:spLocks noChangeAspect="1"/>
          </p:cNvSpPr>
          <p:nvPr userDrawn="1"/>
        </p:nvSpPr>
        <p:spPr>
          <a:xfrm>
            <a:off x="659171" y="1153553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DC4405"/>
              </a:solidFill>
            </a:endParaRPr>
          </a:p>
        </p:txBody>
      </p:sp>
      <p:sp>
        <p:nvSpPr>
          <p:cNvPr id="52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804877" y="1294946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18169" y="2519265"/>
            <a:ext cx="4391247" cy="3442996"/>
          </a:xfrm>
        </p:spPr>
        <p:txBody>
          <a:bodyPr anchor="t" anchorCtr="0"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754" indent="0">
              <a:buClr>
                <a:srgbClr val="DC4405"/>
              </a:buClr>
              <a:buFont typeface="Courier New" panose="02070309020205020404" pitchFamily="49" charset="0"/>
              <a:buNone/>
              <a:defRPr sz="140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57957" y="-10632"/>
            <a:ext cx="6141447" cy="6876034"/>
          </a:xfrm>
          <a:custGeom>
            <a:avLst/>
            <a:gdLst>
              <a:gd name="connsiteX0" fmla="*/ 0 w 6137275"/>
              <a:gd name="connsiteY0" fmla="*/ 1534319 h 6858000"/>
              <a:gd name="connsiteX1" fmla="*/ 1534319 w 6137275"/>
              <a:gd name="connsiteY1" fmla="*/ 1534319 h 6858000"/>
              <a:gd name="connsiteX2" fmla="*/ 1534319 w 6137275"/>
              <a:gd name="connsiteY2" fmla="*/ 0 h 6858000"/>
              <a:gd name="connsiteX3" fmla="*/ 4602956 w 6137275"/>
              <a:gd name="connsiteY3" fmla="*/ 0 h 6858000"/>
              <a:gd name="connsiteX4" fmla="*/ 4602956 w 6137275"/>
              <a:gd name="connsiteY4" fmla="*/ 1534319 h 6858000"/>
              <a:gd name="connsiteX5" fmla="*/ 6137275 w 6137275"/>
              <a:gd name="connsiteY5" fmla="*/ 1534319 h 6858000"/>
              <a:gd name="connsiteX6" fmla="*/ 6137275 w 6137275"/>
              <a:gd name="connsiteY6" fmla="*/ 5323681 h 6858000"/>
              <a:gd name="connsiteX7" fmla="*/ 4602956 w 6137275"/>
              <a:gd name="connsiteY7" fmla="*/ 5323681 h 6858000"/>
              <a:gd name="connsiteX8" fmla="*/ 4602956 w 6137275"/>
              <a:gd name="connsiteY8" fmla="*/ 6858000 h 6858000"/>
              <a:gd name="connsiteX9" fmla="*/ 1534319 w 6137275"/>
              <a:gd name="connsiteY9" fmla="*/ 6858000 h 6858000"/>
              <a:gd name="connsiteX10" fmla="*/ 1534319 w 6137275"/>
              <a:gd name="connsiteY10" fmla="*/ 5323681 h 6858000"/>
              <a:gd name="connsiteX11" fmla="*/ 0 w 6137275"/>
              <a:gd name="connsiteY11" fmla="*/ 5323681 h 6858000"/>
              <a:gd name="connsiteX12" fmla="*/ 0 w 6137275"/>
              <a:gd name="connsiteY12" fmla="*/ 1534319 h 6858000"/>
              <a:gd name="connsiteX0" fmla="*/ 489098 w 6137275"/>
              <a:gd name="connsiteY0" fmla="*/ 715612 h 6858000"/>
              <a:gd name="connsiteX1" fmla="*/ 1534319 w 6137275"/>
              <a:gd name="connsiteY1" fmla="*/ 1534319 h 6858000"/>
              <a:gd name="connsiteX2" fmla="*/ 1534319 w 6137275"/>
              <a:gd name="connsiteY2" fmla="*/ 0 h 6858000"/>
              <a:gd name="connsiteX3" fmla="*/ 4602956 w 6137275"/>
              <a:gd name="connsiteY3" fmla="*/ 0 h 6858000"/>
              <a:gd name="connsiteX4" fmla="*/ 4602956 w 6137275"/>
              <a:gd name="connsiteY4" fmla="*/ 1534319 h 6858000"/>
              <a:gd name="connsiteX5" fmla="*/ 6137275 w 6137275"/>
              <a:gd name="connsiteY5" fmla="*/ 1534319 h 6858000"/>
              <a:gd name="connsiteX6" fmla="*/ 6137275 w 6137275"/>
              <a:gd name="connsiteY6" fmla="*/ 5323681 h 6858000"/>
              <a:gd name="connsiteX7" fmla="*/ 4602956 w 6137275"/>
              <a:gd name="connsiteY7" fmla="*/ 5323681 h 6858000"/>
              <a:gd name="connsiteX8" fmla="*/ 4602956 w 6137275"/>
              <a:gd name="connsiteY8" fmla="*/ 6858000 h 6858000"/>
              <a:gd name="connsiteX9" fmla="*/ 1534319 w 6137275"/>
              <a:gd name="connsiteY9" fmla="*/ 6858000 h 6858000"/>
              <a:gd name="connsiteX10" fmla="*/ 1534319 w 6137275"/>
              <a:gd name="connsiteY10" fmla="*/ 5323681 h 6858000"/>
              <a:gd name="connsiteX11" fmla="*/ 0 w 6137275"/>
              <a:gd name="connsiteY11" fmla="*/ 5323681 h 6858000"/>
              <a:gd name="connsiteX12" fmla="*/ 489098 w 6137275"/>
              <a:gd name="connsiteY12" fmla="*/ 715612 h 6858000"/>
              <a:gd name="connsiteX0" fmla="*/ 0 w 5648177"/>
              <a:gd name="connsiteY0" fmla="*/ 715612 h 6858000"/>
              <a:gd name="connsiteX1" fmla="*/ 1045221 w 5648177"/>
              <a:gd name="connsiteY1" fmla="*/ 1534319 h 6858000"/>
              <a:gd name="connsiteX2" fmla="*/ 1045221 w 5648177"/>
              <a:gd name="connsiteY2" fmla="*/ 0 h 6858000"/>
              <a:gd name="connsiteX3" fmla="*/ 4113858 w 5648177"/>
              <a:gd name="connsiteY3" fmla="*/ 0 h 6858000"/>
              <a:gd name="connsiteX4" fmla="*/ 4113858 w 5648177"/>
              <a:gd name="connsiteY4" fmla="*/ 1534319 h 6858000"/>
              <a:gd name="connsiteX5" fmla="*/ 5648177 w 5648177"/>
              <a:gd name="connsiteY5" fmla="*/ 1534319 h 6858000"/>
              <a:gd name="connsiteX6" fmla="*/ 5648177 w 5648177"/>
              <a:gd name="connsiteY6" fmla="*/ 5323681 h 6858000"/>
              <a:gd name="connsiteX7" fmla="*/ 4113858 w 5648177"/>
              <a:gd name="connsiteY7" fmla="*/ 5323681 h 6858000"/>
              <a:gd name="connsiteX8" fmla="*/ 4113858 w 5648177"/>
              <a:gd name="connsiteY8" fmla="*/ 6858000 h 6858000"/>
              <a:gd name="connsiteX9" fmla="*/ 1045221 w 5648177"/>
              <a:gd name="connsiteY9" fmla="*/ 6858000 h 6858000"/>
              <a:gd name="connsiteX10" fmla="*/ 1045221 w 5648177"/>
              <a:gd name="connsiteY10" fmla="*/ 5323681 h 6858000"/>
              <a:gd name="connsiteX11" fmla="*/ 10632 w 5648177"/>
              <a:gd name="connsiteY11" fmla="*/ 6131755 h 6858000"/>
              <a:gd name="connsiteX12" fmla="*/ 0 w 5648177"/>
              <a:gd name="connsiteY12" fmla="*/ 715612 h 6858000"/>
              <a:gd name="connsiteX0" fmla="*/ 485868 w 6134045"/>
              <a:gd name="connsiteY0" fmla="*/ 715612 h 6858000"/>
              <a:gd name="connsiteX1" fmla="*/ 1531089 w 6134045"/>
              <a:gd name="connsiteY1" fmla="*/ 1534319 h 6858000"/>
              <a:gd name="connsiteX2" fmla="*/ 1531089 w 6134045"/>
              <a:gd name="connsiteY2" fmla="*/ 0 h 6858000"/>
              <a:gd name="connsiteX3" fmla="*/ 4599726 w 6134045"/>
              <a:gd name="connsiteY3" fmla="*/ 0 h 6858000"/>
              <a:gd name="connsiteX4" fmla="*/ 4599726 w 6134045"/>
              <a:gd name="connsiteY4" fmla="*/ 1534319 h 6858000"/>
              <a:gd name="connsiteX5" fmla="*/ 6134045 w 6134045"/>
              <a:gd name="connsiteY5" fmla="*/ 1534319 h 6858000"/>
              <a:gd name="connsiteX6" fmla="*/ 6134045 w 6134045"/>
              <a:gd name="connsiteY6" fmla="*/ 5323681 h 6858000"/>
              <a:gd name="connsiteX7" fmla="*/ 4599726 w 6134045"/>
              <a:gd name="connsiteY7" fmla="*/ 5323681 h 6858000"/>
              <a:gd name="connsiteX8" fmla="*/ 4599726 w 6134045"/>
              <a:gd name="connsiteY8" fmla="*/ 6858000 h 6858000"/>
              <a:gd name="connsiteX9" fmla="*/ 1531089 w 6134045"/>
              <a:gd name="connsiteY9" fmla="*/ 6858000 h 6858000"/>
              <a:gd name="connsiteX10" fmla="*/ 0 w 6134045"/>
              <a:gd name="connsiteY10" fmla="*/ 6131755 h 6858000"/>
              <a:gd name="connsiteX11" fmla="*/ 496500 w 6134045"/>
              <a:gd name="connsiteY11" fmla="*/ 6131755 h 6858000"/>
              <a:gd name="connsiteX12" fmla="*/ 485868 w 6134045"/>
              <a:gd name="connsiteY12" fmla="*/ 715612 h 6858000"/>
              <a:gd name="connsiteX0" fmla="*/ 485868 w 6134045"/>
              <a:gd name="connsiteY0" fmla="*/ 715612 h 6858000"/>
              <a:gd name="connsiteX1" fmla="*/ 1531089 w 6134045"/>
              <a:gd name="connsiteY1" fmla="*/ 1534319 h 6858000"/>
              <a:gd name="connsiteX2" fmla="*/ 1531089 w 6134045"/>
              <a:gd name="connsiteY2" fmla="*/ 0 h 6858000"/>
              <a:gd name="connsiteX3" fmla="*/ 4599726 w 6134045"/>
              <a:gd name="connsiteY3" fmla="*/ 0 h 6858000"/>
              <a:gd name="connsiteX4" fmla="*/ 4599726 w 6134045"/>
              <a:gd name="connsiteY4" fmla="*/ 1534319 h 6858000"/>
              <a:gd name="connsiteX5" fmla="*/ 6134045 w 6134045"/>
              <a:gd name="connsiteY5" fmla="*/ 1534319 h 6858000"/>
              <a:gd name="connsiteX6" fmla="*/ 6134045 w 6134045"/>
              <a:gd name="connsiteY6" fmla="*/ 5323681 h 6858000"/>
              <a:gd name="connsiteX7" fmla="*/ 4599726 w 6134045"/>
              <a:gd name="connsiteY7" fmla="*/ 5323681 h 6858000"/>
              <a:gd name="connsiteX8" fmla="*/ 4599726 w 6134045"/>
              <a:gd name="connsiteY8" fmla="*/ 6858000 h 6858000"/>
              <a:gd name="connsiteX9" fmla="*/ 1 w 6134045"/>
              <a:gd name="connsiteY9" fmla="*/ 6858000 h 6858000"/>
              <a:gd name="connsiteX10" fmla="*/ 0 w 6134045"/>
              <a:gd name="connsiteY10" fmla="*/ 6131755 h 6858000"/>
              <a:gd name="connsiteX11" fmla="*/ 496500 w 6134045"/>
              <a:gd name="connsiteY11" fmla="*/ 6131755 h 6858000"/>
              <a:gd name="connsiteX12" fmla="*/ 485868 w 6134045"/>
              <a:gd name="connsiteY12" fmla="*/ 715612 h 6858000"/>
              <a:gd name="connsiteX0" fmla="*/ 496500 w 6144677"/>
              <a:gd name="connsiteY0" fmla="*/ 715612 h 6858000"/>
              <a:gd name="connsiteX1" fmla="*/ 0 w 6144677"/>
              <a:gd name="connsiteY1" fmla="*/ 715612 h 6858000"/>
              <a:gd name="connsiteX2" fmla="*/ 1541721 w 6144677"/>
              <a:gd name="connsiteY2" fmla="*/ 0 h 6858000"/>
              <a:gd name="connsiteX3" fmla="*/ 4610358 w 6144677"/>
              <a:gd name="connsiteY3" fmla="*/ 0 h 6858000"/>
              <a:gd name="connsiteX4" fmla="*/ 4610358 w 6144677"/>
              <a:gd name="connsiteY4" fmla="*/ 1534319 h 6858000"/>
              <a:gd name="connsiteX5" fmla="*/ 6144677 w 6144677"/>
              <a:gd name="connsiteY5" fmla="*/ 1534319 h 6858000"/>
              <a:gd name="connsiteX6" fmla="*/ 6144677 w 6144677"/>
              <a:gd name="connsiteY6" fmla="*/ 5323681 h 6858000"/>
              <a:gd name="connsiteX7" fmla="*/ 4610358 w 6144677"/>
              <a:gd name="connsiteY7" fmla="*/ 5323681 h 6858000"/>
              <a:gd name="connsiteX8" fmla="*/ 4610358 w 6144677"/>
              <a:gd name="connsiteY8" fmla="*/ 6858000 h 6858000"/>
              <a:gd name="connsiteX9" fmla="*/ 10633 w 6144677"/>
              <a:gd name="connsiteY9" fmla="*/ 6858000 h 6858000"/>
              <a:gd name="connsiteX10" fmla="*/ 10632 w 6144677"/>
              <a:gd name="connsiteY10" fmla="*/ 6131755 h 6858000"/>
              <a:gd name="connsiteX11" fmla="*/ 507132 w 6144677"/>
              <a:gd name="connsiteY11" fmla="*/ 6131755 h 6858000"/>
              <a:gd name="connsiteX12" fmla="*/ 496500 w 6144677"/>
              <a:gd name="connsiteY12" fmla="*/ 715612 h 6858000"/>
              <a:gd name="connsiteX0" fmla="*/ 496500 w 6144677"/>
              <a:gd name="connsiteY0" fmla="*/ 736877 h 6879265"/>
              <a:gd name="connsiteX1" fmla="*/ 0 w 6144677"/>
              <a:gd name="connsiteY1" fmla="*/ 736877 h 6879265"/>
              <a:gd name="connsiteX2" fmla="*/ 10633 w 6144677"/>
              <a:gd name="connsiteY2" fmla="*/ 0 h 6879265"/>
              <a:gd name="connsiteX3" fmla="*/ 4610358 w 6144677"/>
              <a:gd name="connsiteY3" fmla="*/ 21265 h 6879265"/>
              <a:gd name="connsiteX4" fmla="*/ 4610358 w 6144677"/>
              <a:gd name="connsiteY4" fmla="*/ 1555584 h 6879265"/>
              <a:gd name="connsiteX5" fmla="*/ 6144677 w 6144677"/>
              <a:gd name="connsiteY5" fmla="*/ 1555584 h 6879265"/>
              <a:gd name="connsiteX6" fmla="*/ 6144677 w 6144677"/>
              <a:gd name="connsiteY6" fmla="*/ 5344946 h 6879265"/>
              <a:gd name="connsiteX7" fmla="*/ 4610358 w 6144677"/>
              <a:gd name="connsiteY7" fmla="*/ 5344946 h 6879265"/>
              <a:gd name="connsiteX8" fmla="*/ 4610358 w 6144677"/>
              <a:gd name="connsiteY8" fmla="*/ 6879265 h 6879265"/>
              <a:gd name="connsiteX9" fmla="*/ 10633 w 6144677"/>
              <a:gd name="connsiteY9" fmla="*/ 6879265 h 6879265"/>
              <a:gd name="connsiteX10" fmla="*/ 10632 w 6144677"/>
              <a:gd name="connsiteY10" fmla="*/ 6153020 h 6879265"/>
              <a:gd name="connsiteX11" fmla="*/ 507132 w 6144677"/>
              <a:gd name="connsiteY11" fmla="*/ 6153020 h 6879265"/>
              <a:gd name="connsiteX12" fmla="*/ 496500 w 6144677"/>
              <a:gd name="connsiteY12" fmla="*/ 736877 h 6879265"/>
              <a:gd name="connsiteX0" fmla="*/ 496500 w 6144677"/>
              <a:gd name="connsiteY0" fmla="*/ 726244 h 6868632"/>
              <a:gd name="connsiteX1" fmla="*/ 0 w 6144677"/>
              <a:gd name="connsiteY1" fmla="*/ 726244 h 6868632"/>
              <a:gd name="connsiteX2" fmla="*/ 10633 w 6144677"/>
              <a:gd name="connsiteY2" fmla="*/ 0 h 6868632"/>
              <a:gd name="connsiteX3" fmla="*/ 4610358 w 6144677"/>
              <a:gd name="connsiteY3" fmla="*/ 10632 h 6868632"/>
              <a:gd name="connsiteX4" fmla="*/ 4610358 w 6144677"/>
              <a:gd name="connsiteY4" fmla="*/ 1544951 h 6868632"/>
              <a:gd name="connsiteX5" fmla="*/ 6144677 w 6144677"/>
              <a:gd name="connsiteY5" fmla="*/ 1544951 h 6868632"/>
              <a:gd name="connsiteX6" fmla="*/ 6144677 w 6144677"/>
              <a:gd name="connsiteY6" fmla="*/ 5334313 h 6868632"/>
              <a:gd name="connsiteX7" fmla="*/ 4610358 w 6144677"/>
              <a:gd name="connsiteY7" fmla="*/ 5334313 h 6868632"/>
              <a:gd name="connsiteX8" fmla="*/ 4610358 w 6144677"/>
              <a:gd name="connsiteY8" fmla="*/ 6868632 h 6868632"/>
              <a:gd name="connsiteX9" fmla="*/ 10633 w 6144677"/>
              <a:gd name="connsiteY9" fmla="*/ 6868632 h 6868632"/>
              <a:gd name="connsiteX10" fmla="*/ 10632 w 6144677"/>
              <a:gd name="connsiteY10" fmla="*/ 6142387 h 6868632"/>
              <a:gd name="connsiteX11" fmla="*/ 507132 w 6144677"/>
              <a:gd name="connsiteY11" fmla="*/ 6142387 h 6868632"/>
              <a:gd name="connsiteX12" fmla="*/ 496500 w 6144677"/>
              <a:gd name="connsiteY12" fmla="*/ 726244 h 6868632"/>
              <a:gd name="connsiteX0" fmla="*/ 485868 w 6134045"/>
              <a:gd name="connsiteY0" fmla="*/ 726244 h 6868632"/>
              <a:gd name="connsiteX1" fmla="*/ 10634 w 6134045"/>
              <a:gd name="connsiteY1" fmla="*/ 726244 h 6868632"/>
              <a:gd name="connsiteX2" fmla="*/ 1 w 6134045"/>
              <a:gd name="connsiteY2" fmla="*/ 0 h 6868632"/>
              <a:gd name="connsiteX3" fmla="*/ 4599726 w 6134045"/>
              <a:gd name="connsiteY3" fmla="*/ 10632 h 6868632"/>
              <a:gd name="connsiteX4" fmla="*/ 4599726 w 6134045"/>
              <a:gd name="connsiteY4" fmla="*/ 1544951 h 6868632"/>
              <a:gd name="connsiteX5" fmla="*/ 6134045 w 6134045"/>
              <a:gd name="connsiteY5" fmla="*/ 1544951 h 6868632"/>
              <a:gd name="connsiteX6" fmla="*/ 6134045 w 6134045"/>
              <a:gd name="connsiteY6" fmla="*/ 5334313 h 6868632"/>
              <a:gd name="connsiteX7" fmla="*/ 4599726 w 6134045"/>
              <a:gd name="connsiteY7" fmla="*/ 5334313 h 6868632"/>
              <a:gd name="connsiteX8" fmla="*/ 4599726 w 6134045"/>
              <a:gd name="connsiteY8" fmla="*/ 6868632 h 6868632"/>
              <a:gd name="connsiteX9" fmla="*/ 1 w 6134045"/>
              <a:gd name="connsiteY9" fmla="*/ 6868632 h 6868632"/>
              <a:gd name="connsiteX10" fmla="*/ 0 w 6134045"/>
              <a:gd name="connsiteY10" fmla="*/ 6142387 h 6868632"/>
              <a:gd name="connsiteX11" fmla="*/ 496500 w 6134045"/>
              <a:gd name="connsiteY11" fmla="*/ 6142387 h 6868632"/>
              <a:gd name="connsiteX12" fmla="*/ 485868 w 6134045"/>
              <a:gd name="connsiteY12" fmla="*/ 726244 h 6868632"/>
              <a:gd name="connsiteX0" fmla="*/ 485868 w 6134045"/>
              <a:gd name="connsiteY0" fmla="*/ 726244 h 6868632"/>
              <a:gd name="connsiteX1" fmla="*/ 2 w 6134045"/>
              <a:gd name="connsiteY1" fmla="*/ 726244 h 6868632"/>
              <a:gd name="connsiteX2" fmla="*/ 1 w 6134045"/>
              <a:gd name="connsiteY2" fmla="*/ 0 h 6868632"/>
              <a:gd name="connsiteX3" fmla="*/ 4599726 w 6134045"/>
              <a:gd name="connsiteY3" fmla="*/ 10632 h 6868632"/>
              <a:gd name="connsiteX4" fmla="*/ 4599726 w 6134045"/>
              <a:gd name="connsiteY4" fmla="*/ 1544951 h 6868632"/>
              <a:gd name="connsiteX5" fmla="*/ 6134045 w 6134045"/>
              <a:gd name="connsiteY5" fmla="*/ 1544951 h 6868632"/>
              <a:gd name="connsiteX6" fmla="*/ 6134045 w 6134045"/>
              <a:gd name="connsiteY6" fmla="*/ 5334313 h 6868632"/>
              <a:gd name="connsiteX7" fmla="*/ 4599726 w 6134045"/>
              <a:gd name="connsiteY7" fmla="*/ 5334313 h 6868632"/>
              <a:gd name="connsiteX8" fmla="*/ 4599726 w 6134045"/>
              <a:gd name="connsiteY8" fmla="*/ 6868632 h 6868632"/>
              <a:gd name="connsiteX9" fmla="*/ 1 w 6134045"/>
              <a:gd name="connsiteY9" fmla="*/ 6868632 h 6868632"/>
              <a:gd name="connsiteX10" fmla="*/ 0 w 6134045"/>
              <a:gd name="connsiteY10" fmla="*/ 6142387 h 6868632"/>
              <a:gd name="connsiteX11" fmla="*/ 496500 w 6134045"/>
              <a:gd name="connsiteY11" fmla="*/ 6142387 h 6868632"/>
              <a:gd name="connsiteX12" fmla="*/ 485868 w 6134045"/>
              <a:gd name="connsiteY12" fmla="*/ 726244 h 6868632"/>
              <a:gd name="connsiteX0" fmla="*/ 485868 w 6141447"/>
              <a:gd name="connsiteY0" fmla="*/ 726244 h 6868632"/>
              <a:gd name="connsiteX1" fmla="*/ 2 w 6141447"/>
              <a:gd name="connsiteY1" fmla="*/ 726244 h 6868632"/>
              <a:gd name="connsiteX2" fmla="*/ 1 w 6141447"/>
              <a:gd name="connsiteY2" fmla="*/ 0 h 6868632"/>
              <a:gd name="connsiteX3" fmla="*/ 4599726 w 6141447"/>
              <a:gd name="connsiteY3" fmla="*/ 10632 h 6868632"/>
              <a:gd name="connsiteX4" fmla="*/ 6141447 w 6141447"/>
              <a:gd name="connsiteY4" fmla="*/ 24495 h 6868632"/>
              <a:gd name="connsiteX5" fmla="*/ 6134045 w 6141447"/>
              <a:gd name="connsiteY5" fmla="*/ 1544951 h 6868632"/>
              <a:gd name="connsiteX6" fmla="*/ 6134045 w 6141447"/>
              <a:gd name="connsiteY6" fmla="*/ 5334313 h 6868632"/>
              <a:gd name="connsiteX7" fmla="*/ 4599726 w 6141447"/>
              <a:gd name="connsiteY7" fmla="*/ 5334313 h 6868632"/>
              <a:gd name="connsiteX8" fmla="*/ 4599726 w 6141447"/>
              <a:gd name="connsiteY8" fmla="*/ 6868632 h 6868632"/>
              <a:gd name="connsiteX9" fmla="*/ 1 w 6141447"/>
              <a:gd name="connsiteY9" fmla="*/ 6868632 h 6868632"/>
              <a:gd name="connsiteX10" fmla="*/ 0 w 6141447"/>
              <a:gd name="connsiteY10" fmla="*/ 6142387 h 6868632"/>
              <a:gd name="connsiteX11" fmla="*/ 496500 w 6141447"/>
              <a:gd name="connsiteY11" fmla="*/ 6142387 h 6868632"/>
              <a:gd name="connsiteX12" fmla="*/ 485868 w 6141447"/>
              <a:gd name="connsiteY12" fmla="*/ 726244 h 6868632"/>
              <a:gd name="connsiteX0" fmla="*/ 485868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496500 w 6141447"/>
              <a:gd name="connsiteY11" fmla="*/ 6142387 h 6876034"/>
              <a:gd name="connsiteX12" fmla="*/ 485868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496500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26244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26244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26244 h 6876034"/>
              <a:gd name="connsiteX0" fmla="*/ 858007 w 6141447"/>
              <a:gd name="connsiteY0" fmla="*/ 734953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58007 w 6141447"/>
              <a:gd name="connsiteY12" fmla="*/ 734953 h 6876034"/>
              <a:gd name="connsiteX0" fmla="*/ 849299 w 6141447"/>
              <a:gd name="connsiteY0" fmla="*/ 734953 h 6876034"/>
              <a:gd name="connsiteX1" fmla="*/ 2 w 6141447"/>
              <a:gd name="connsiteY1" fmla="*/ 734953 h 6876034"/>
              <a:gd name="connsiteX2" fmla="*/ 1 w 6141447"/>
              <a:gd name="connsiteY2" fmla="*/ 0 h 6876034"/>
              <a:gd name="connsiteX3" fmla="*/ 4599726 w 6141447"/>
              <a:gd name="connsiteY3" fmla="*/ 10632 h 6876034"/>
              <a:gd name="connsiteX4" fmla="*/ 6141447 w 6141447"/>
              <a:gd name="connsiteY4" fmla="*/ 24495 h 6876034"/>
              <a:gd name="connsiteX5" fmla="*/ 6134045 w 6141447"/>
              <a:gd name="connsiteY5" fmla="*/ 1544951 h 6876034"/>
              <a:gd name="connsiteX6" fmla="*/ 6134045 w 6141447"/>
              <a:gd name="connsiteY6" fmla="*/ 5334313 h 6876034"/>
              <a:gd name="connsiteX7" fmla="*/ 6141447 w 6141447"/>
              <a:gd name="connsiteY7" fmla="*/ 6876034 h 6876034"/>
              <a:gd name="connsiteX8" fmla="*/ 4599726 w 6141447"/>
              <a:gd name="connsiteY8" fmla="*/ 6868632 h 6876034"/>
              <a:gd name="connsiteX9" fmla="*/ 1 w 6141447"/>
              <a:gd name="connsiteY9" fmla="*/ 6868632 h 6876034"/>
              <a:gd name="connsiteX10" fmla="*/ 0 w 6141447"/>
              <a:gd name="connsiteY10" fmla="*/ 6142387 h 6876034"/>
              <a:gd name="connsiteX11" fmla="*/ 847374 w 6141447"/>
              <a:gd name="connsiteY11" fmla="*/ 6142387 h 6876034"/>
              <a:gd name="connsiteX12" fmla="*/ 849299 w 6141447"/>
              <a:gd name="connsiteY12" fmla="*/ 734953 h 687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41447" h="6876034">
                <a:moveTo>
                  <a:pt x="849299" y="734953"/>
                </a:moveTo>
                <a:lnTo>
                  <a:pt x="2" y="734953"/>
                </a:lnTo>
                <a:cubicBezTo>
                  <a:pt x="2" y="492872"/>
                  <a:pt x="1" y="242081"/>
                  <a:pt x="1" y="0"/>
                </a:cubicBezTo>
                <a:lnTo>
                  <a:pt x="4599726" y="10632"/>
                </a:lnTo>
                <a:lnTo>
                  <a:pt x="6141447" y="24495"/>
                </a:lnTo>
                <a:cubicBezTo>
                  <a:pt x="6138980" y="531314"/>
                  <a:pt x="6136512" y="1038132"/>
                  <a:pt x="6134045" y="1544951"/>
                </a:cubicBezTo>
                <a:lnTo>
                  <a:pt x="6134045" y="5334313"/>
                </a:lnTo>
                <a:cubicBezTo>
                  <a:pt x="6136512" y="5848220"/>
                  <a:pt x="6138980" y="6362127"/>
                  <a:pt x="6141447" y="6876034"/>
                </a:cubicBezTo>
                <a:lnTo>
                  <a:pt x="4599726" y="6868632"/>
                </a:lnTo>
                <a:lnTo>
                  <a:pt x="1" y="6868632"/>
                </a:lnTo>
                <a:cubicBezTo>
                  <a:pt x="1" y="6626550"/>
                  <a:pt x="0" y="6384469"/>
                  <a:pt x="0" y="6142387"/>
                </a:cubicBezTo>
                <a:lnTo>
                  <a:pt x="847374" y="6142387"/>
                </a:lnTo>
                <a:cubicBezTo>
                  <a:pt x="850918" y="4337006"/>
                  <a:pt x="845755" y="2540334"/>
                  <a:pt x="849299" y="734953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642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49"/>
          <a:stretch/>
        </p:blipFill>
        <p:spPr>
          <a:xfrm>
            <a:off x="-430" y="95694"/>
            <a:ext cx="12192431" cy="6762307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2194" y="-53163"/>
            <a:ext cx="12189807" cy="2976245"/>
            <a:chOff x="0" y="-53163"/>
            <a:chExt cx="9141806" cy="2976245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9141806" cy="29230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775" b="57376"/>
            <a:stretch/>
          </p:blipFill>
          <p:spPr>
            <a:xfrm>
              <a:off x="0" y="-53163"/>
              <a:ext cx="9141806" cy="2976245"/>
            </a:xfrm>
            <a:custGeom>
              <a:avLst/>
              <a:gdLst>
                <a:gd name="connsiteX0" fmla="*/ 0 w 9141806"/>
                <a:gd name="connsiteY0" fmla="*/ 0 h 2923082"/>
                <a:gd name="connsiteX1" fmla="*/ 9141806 w 9141806"/>
                <a:gd name="connsiteY1" fmla="*/ 0 h 2923082"/>
                <a:gd name="connsiteX2" fmla="*/ 9141806 w 9141806"/>
                <a:gd name="connsiteY2" fmla="*/ 2923082 h 2923082"/>
                <a:gd name="connsiteX3" fmla="*/ 0 w 9141806"/>
                <a:gd name="connsiteY3" fmla="*/ 2923082 h 2923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1806" h="2923082">
                  <a:moveTo>
                    <a:pt x="0" y="0"/>
                  </a:moveTo>
                  <a:lnTo>
                    <a:pt x="9141806" y="0"/>
                  </a:lnTo>
                  <a:lnTo>
                    <a:pt x="9141806" y="2923082"/>
                  </a:lnTo>
                  <a:lnTo>
                    <a:pt x="0" y="2923082"/>
                  </a:lnTo>
                  <a:close/>
                </a:path>
              </a:pathLst>
            </a:custGeom>
          </p:spPr>
        </p:pic>
      </p:grpSp>
      <p:sp>
        <p:nvSpPr>
          <p:cNvPr id="9" name="Rectangle 8"/>
          <p:cNvSpPr/>
          <p:nvPr userDrawn="1"/>
        </p:nvSpPr>
        <p:spPr>
          <a:xfrm>
            <a:off x="723900" y="723900"/>
            <a:ext cx="10262216" cy="3013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343738" y="958880"/>
            <a:ext cx="8855471" cy="569193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DC440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Oval 9"/>
          <p:cNvSpPr>
            <a:spLocks noChangeAspect="1"/>
          </p:cNvSpPr>
          <p:nvPr userDrawn="1"/>
        </p:nvSpPr>
        <p:spPr>
          <a:xfrm>
            <a:off x="10592663" y="958878"/>
            <a:ext cx="786908" cy="786908"/>
          </a:xfrm>
          <a:prstGeom prst="ellipse">
            <a:avLst/>
          </a:prstGeom>
          <a:solidFill>
            <a:schemeClr val="bg1"/>
          </a:solidFill>
          <a:ln w="50800">
            <a:solidFill>
              <a:srgbClr val="DC44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734057" y="1100271"/>
            <a:ext cx="504121" cy="50412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Icon imag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343026" y="1604965"/>
            <a:ext cx="8856663" cy="1957387"/>
          </a:xfrm>
        </p:spPr>
        <p:txBody>
          <a:bodyPr>
            <a:normAutofit/>
          </a:bodyPr>
          <a:lstStyle>
            <a:lvl1pPr marL="228594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2000" baseline="0">
                <a:latin typeface="+mn-lt"/>
              </a:defRPr>
            </a:lvl1pPr>
            <a:lvl2pPr marL="685783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800" baseline="0">
                <a:latin typeface="+mn-lt"/>
              </a:defRPr>
            </a:lvl2pPr>
            <a:lvl3pPr marL="1142971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600" baseline="0">
                <a:latin typeface="+mn-lt"/>
              </a:defRPr>
            </a:lvl3pPr>
            <a:lvl4pPr marL="1600160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 baseline="0">
                <a:latin typeface="+mn-lt"/>
              </a:defRPr>
            </a:lvl4pPr>
            <a:lvl5pPr marL="2057349" indent="-228594">
              <a:buClr>
                <a:srgbClr val="DC4405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Picture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16" y="2904955"/>
            <a:ext cx="12192431" cy="3970678"/>
          </a:xfrm>
          <a:custGeom>
            <a:avLst/>
            <a:gdLst>
              <a:gd name="connsiteX0" fmla="*/ 0 w 12192000"/>
              <a:gd name="connsiteY0" fmla="*/ 983853 h 3935412"/>
              <a:gd name="connsiteX1" fmla="*/ 983853 w 12192000"/>
              <a:gd name="connsiteY1" fmla="*/ 983853 h 3935412"/>
              <a:gd name="connsiteX2" fmla="*/ 983853 w 12192000"/>
              <a:gd name="connsiteY2" fmla="*/ 0 h 3935412"/>
              <a:gd name="connsiteX3" fmla="*/ 11208147 w 12192000"/>
              <a:gd name="connsiteY3" fmla="*/ 0 h 3935412"/>
              <a:gd name="connsiteX4" fmla="*/ 11208147 w 12192000"/>
              <a:gd name="connsiteY4" fmla="*/ 983853 h 3935412"/>
              <a:gd name="connsiteX5" fmla="*/ 12192000 w 12192000"/>
              <a:gd name="connsiteY5" fmla="*/ 983853 h 3935412"/>
              <a:gd name="connsiteX6" fmla="*/ 12192000 w 12192000"/>
              <a:gd name="connsiteY6" fmla="*/ 2951559 h 3935412"/>
              <a:gd name="connsiteX7" fmla="*/ 11208147 w 12192000"/>
              <a:gd name="connsiteY7" fmla="*/ 2951559 h 3935412"/>
              <a:gd name="connsiteX8" fmla="*/ 11208147 w 12192000"/>
              <a:gd name="connsiteY8" fmla="*/ 3935412 h 3935412"/>
              <a:gd name="connsiteX9" fmla="*/ 983853 w 12192000"/>
              <a:gd name="connsiteY9" fmla="*/ 3935412 h 3935412"/>
              <a:gd name="connsiteX10" fmla="*/ 983853 w 12192000"/>
              <a:gd name="connsiteY10" fmla="*/ 2951559 h 3935412"/>
              <a:gd name="connsiteX11" fmla="*/ 0 w 12192000"/>
              <a:gd name="connsiteY11" fmla="*/ 2951559 h 3935412"/>
              <a:gd name="connsiteX12" fmla="*/ 0 w 12192000"/>
              <a:gd name="connsiteY12" fmla="*/ 983853 h 3935412"/>
              <a:gd name="connsiteX0" fmla="*/ 10633 w 12192000"/>
              <a:gd name="connsiteY0" fmla="*/ 0 h 3940387"/>
              <a:gd name="connsiteX1" fmla="*/ 983853 w 12192000"/>
              <a:gd name="connsiteY1" fmla="*/ 988828 h 3940387"/>
              <a:gd name="connsiteX2" fmla="*/ 983853 w 12192000"/>
              <a:gd name="connsiteY2" fmla="*/ 4975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7407 w 12192000"/>
              <a:gd name="connsiteY1" fmla="*/ 0 h 3940387"/>
              <a:gd name="connsiteX2" fmla="*/ 983853 w 12192000"/>
              <a:gd name="connsiteY2" fmla="*/ 4975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7407 w 12192000"/>
              <a:gd name="connsiteY1" fmla="*/ 0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10632 h 3951019"/>
              <a:gd name="connsiteX1" fmla="*/ 728672 w 12192000"/>
              <a:gd name="connsiteY1" fmla="*/ 0 h 3951019"/>
              <a:gd name="connsiteX2" fmla="*/ 718039 w 12192000"/>
              <a:gd name="connsiteY2" fmla="*/ 834314 h 3951019"/>
              <a:gd name="connsiteX3" fmla="*/ 11208147 w 12192000"/>
              <a:gd name="connsiteY3" fmla="*/ 15607 h 3951019"/>
              <a:gd name="connsiteX4" fmla="*/ 11208147 w 12192000"/>
              <a:gd name="connsiteY4" fmla="*/ 999460 h 3951019"/>
              <a:gd name="connsiteX5" fmla="*/ 12192000 w 12192000"/>
              <a:gd name="connsiteY5" fmla="*/ 999460 h 3951019"/>
              <a:gd name="connsiteX6" fmla="*/ 12192000 w 12192000"/>
              <a:gd name="connsiteY6" fmla="*/ 2967166 h 3951019"/>
              <a:gd name="connsiteX7" fmla="*/ 11208147 w 12192000"/>
              <a:gd name="connsiteY7" fmla="*/ 2967166 h 3951019"/>
              <a:gd name="connsiteX8" fmla="*/ 11208147 w 12192000"/>
              <a:gd name="connsiteY8" fmla="*/ 3951019 h 3951019"/>
              <a:gd name="connsiteX9" fmla="*/ 983853 w 12192000"/>
              <a:gd name="connsiteY9" fmla="*/ 3951019 h 3951019"/>
              <a:gd name="connsiteX10" fmla="*/ 983853 w 12192000"/>
              <a:gd name="connsiteY10" fmla="*/ 2967166 h 3951019"/>
              <a:gd name="connsiteX11" fmla="*/ 0 w 12192000"/>
              <a:gd name="connsiteY11" fmla="*/ 2967166 h 3951019"/>
              <a:gd name="connsiteX12" fmla="*/ 10633 w 12192000"/>
              <a:gd name="connsiteY12" fmla="*/ 10632 h 3951019"/>
              <a:gd name="connsiteX0" fmla="*/ 10633 w 12192000"/>
              <a:gd name="connsiteY0" fmla="*/ 0 h 3940387"/>
              <a:gd name="connsiteX1" fmla="*/ 718039 w 12192000"/>
              <a:gd name="connsiteY1" fmla="*/ 10633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00622 w 12192000"/>
              <a:gd name="connsiteY1" fmla="*/ 10633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18039 w 12192000"/>
              <a:gd name="connsiteY1" fmla="*/ 1925 h 3940387"/>
              <a:gd name="connsiteX2" fmla="*/ 718039 w 12192000"/>
              <a:gd name="connsiteY2" fmla="*/ 823682 h 3940387"/>
              <a:gd name="connsiteX3" fmla="*/ 11208147 w 12192000"/>
              <a:gd name="connsiteY3" fmla="*/ 4975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0 h 3940387"/>
              <a:gd name="connsiteX1" fmla="*/ 718039 w 12192000"/>
              <a:gd name="connsiteY1" fmla="*/ 1925 h 3940387"/>
              <a:gd name="connsiteX2" fmla="*/ 718039 w 12192000"/>
              <a:gd name="connsiteY2" fmla="*/ 823682 h 3940387"/>
              <a:gd name="connsiteX3" fmla="*/ 10999141 w 12192000"/>
              <a:gd name="connsiteY3" fmla="*/ 806163 h 3940387"/>
              <a:gd name="connsiteX4" fmla="*/ 11208147 w 12192000"/>
              <a:gd name="connsiteY4" fmla="*/ 988828 h 3940387"/>
              <a:gd name="connsiteX5" fmla="*/ 12192000 w 12192000"/>
              <a:gd name="connsiteY5" fmla="*/ 988828 h 3940387"/>
              <a:gd name="connsiteX6" fmla="*/ 12192000 w 12192000"/>
              <a:gd name="connsiteY6" fmla="*/ 2956534 h 3940387"/>
              <a:gd name="connsiteX7" fmla="*/ 11208147 w 12192000"/>
              <a:gd name="connsiteY7" fmla="*/ 2956534 h 3940387"/>
              <a:gd name="connsiteX8" fmla="*/ 11208147 w 12192000"/>
              <a:gd name="connsiteY8" fmla="*/ 3940387 h 3940387"/>
              <a:gd name="connsiteX9" fmla="*/ 983853 w 12192000"/>
              <a:gd name="connsiteY9" fmla="*/ 3940387 h 3940387"/>
              <a:gd name="connsiteX10" fmla="*/ 983853 w 12192000"/>
              <a:gd name="connsiteY10" fmla="*/ 2956534 h 3940387"/>
              <a:gd name="connsiteX11" fmla="*/ 0 w 12192000"/>
              <a:gd name="connsiteY11" fmla="*/ 2956534 h 3940387"/>
              <a:gd name="connsiteX12" fmla="*/ 10633 w 12192000"/>
              <a:gd name="connsiteY12" fmla="*/ 0 h 3940387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9141 w 12192000"/>
              <a:gd name="connsiteY3" fmla="*/ 818821 h 3953045"/>
              <a:gd name="connsiteX4" fmla="*/ 10999141 w 12192000"/>
              <a:gd name="connsiteY4" fmla="*/ 0 h 3953045"/>
              <a:gd name="connsiteX5" fmla="*/ 12192000 w 12192000"/>
              <a:gd name="connsiteY5" fmla="*/ 1001486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0432 w 12192000"/>
              <a:gd name="connsiteY3" fmla="*/ 827529 h 3953045"/>
              <a:gd name="connsiteX4" fmla="*/ 10999141 w 12192000"/>
              <a:gd name="connsiteY4" fmla="*/ 0 h 3953045"/>
              <a:gd name="connsiteX5" fmla="*/ 12192000 w 12192000"/>
              <a:gd name="connsiteY5" fmla="*/ 1001486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000"/>
              <a:gd name="connsiteY0" fmla="*/ 12658 h 3953045"/>
              <a:gd name="connsiteX1" fmla="*/ 718039 w 12192000"/>
              <a:gd name="connsiteY1" fmla="*/ 14583 h 3953045"/>
              <a:gd name="connsiteX2" fmla="*/ 718039 w 12192000"/>
              <a:gd name="connsiteY2" fmla="*/ 836340 h 3953045"/>
              <a:gd name="connsiteX3" fmla="*/ 10990432 w 12192000"/>
              <a:gd name="connsiteY3" fmla="*/ 827529 h 3953045"/>
              <a:gd name="connsiteX4" fmla="*/ 10999141 w 12192000"/>
              <a:gd name="connsiteY4" fmla="*/ 0 h 3953045"/>
              <a:gd name="connsiteX5" fmla="*/ 12192000 w 12192000"/>
              <a:gd name="connsiteY5" fmla="*/ 17418 h 3953045"/>
              <a:gd name="connsiteX6" fmla="*/ 12192000 w 12192000"/>
              <a:gd name="connsiteY6" fmla="*/ 2969192 h 3953045"/>
              <a:gd name="connsiteX7" fmla="*/ 11208147 w 12192000"/>
              <a:gd name="connsiteY7" fmla="*/ 2969192 h 3953045"/>
              <a:gd name="connsiteX8" fmla="*/ 11208147 w 12192000"/>
              <a:gd name="connsiteY8" fmla="*/ 3953045 h 3953045"/>
              <a:gd name="connsiteX9" fmla="*/ 983853 w 12192000"/>
              <a:gd name="connsiteY9" fmla="*/ 3953045 h 3953045"/>
              <a:gd name="connsiteX10" fmla="*/ 983853 w 12192000"/>
              <a:gd name="connsiteY10" fmla="*/ 2969192 h 3953045"/>
              <a:gd name="connsiteX11" fmla="*/ 0 w 12192000"/>
              <a:gd name="connsiteY11" fmla="*/ 2969192 h 3953045"/>
              <a:gd name="connsiteX12" fmla="*/ 10633 w 12192000"/>
              <a:gd name="connsiteY12" fmla="*/ 12658 h 3953045"/>
              <a:gd name="connsiteX0" fmla="*/ 10633 w 12192216"/>
              <a:gd name="connsiteY0" fmla="*/ 12658 h 3961969"/>
              <a:gd name="connsiteX1" fmla="*/ 718039 w 12192216"/>
              <a:gd name="connsiteY1" fmla="*/ 14583 h 3961969"/>
              <a:gd name="connsiteX2" fmla="*/ 718039 w 12192216"/>
              <a:gd name="connsiteY2" fmla="*/ 836340 h 3961969"/>
              <a:gd name="connsiteX3" fmla="*/ 10990432 w 12192216"/>
              <a:gd name="connsiteY3" fmla="*/ 827529 h 3961969"/>
              <a:gd name="connsiteX4" fmla="*/ 10999141 w 12192216"/>
              <a:gd name="connsiteY4" fmla="*/ 0 h 3961969"/>
              <a:gd name="connsiteX5" fmla="*/ 12192000 w 12192216"/>
              <a:gd name="connsiteY5" fmla="*/ 17418 h 3961969"/>
              <a:gd name="connsiteX6" fmla="*/ 12192000 w 12192216"/>
              <a:gd name="connsiteY6" fmla="*/ 2969192 h 3961969"/>
              <a:gd name="connsiteX7" fmla="*/ 12192216 w 12192216"/>
              <a:gd name="connsiteY7" fmla="*/ 3961969 h 3961969"/>
              <a:gd name="connsiteX8" fmla="*/ 11208147 w 12192216"/>
              <a:gd name="connsiteY8" fmla="*/ 3953045 h 3961969"/>
              <a:gd name="connsiteX9" fmla="*/ 983853 w 12192216"/>
              <a:gd name="connsiteY9" fmla="*/ 3953045 h 3961969"/>
              <a:gd name="connsiteX10" fmla="*/ 983853 w 12192216"/>
              <a:gd name="connsiteY10" fmla="*/ 2969192 h 3961969"/>
              <a:gd name="connsiteX11" fmla="*/ 0 w 12192216"/>
              <a:gd name="connsiteY11" fmla="*/ 2969192 h 3961969"/>
              <a:gd name="connsiteX12" fmla="*/ 10633 w 12192216"/>
              <a:gd name="connsiteY12" fmla="*/ 12658 h 3961969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99356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99356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  <a:gd name="connsiteX0" fmla="*/ 10848 w 12192431"/>
              <a:gd name="connsiteY0" fmla="*/ 12658 h 3970678"/>
              <a:gd name="connsiteX1" fmla="*/ 718254 w 12192431"/>
              <a:gd name="connsiteY1" fmla="*/ 14583 h 3970678"/>
              <a:gd name="connsiteX2" fmla="*/ 718254 w 12192431"/>
              <a:gd name="connsiteY2" fmla="*/ 836340 h 3970678"/>
              <a:gd name="connsiteX3" fmla="*/ 10990647 w 12192431"/>
              <a:gd name="connsiteY3" fmla="*/ 827529 h 3970678"/>
              <a:gd name="connsiteX4" fmla="*/ 10981939 w 12192431"/>
              <a:gd name="connsiteY4" fmla="*/ 0 h 3970678"/>
              <a:gd name="connsiteX5" fmla="*/ 12192215 w 12192431"/>
              <a:gd name="connsiteY5" fmla="*/ 17418 h 3970678"/>
              <a:gd name="connsiteX6" fmla="*/ 12192215 w 12192431"/>
              <a:gd name="connsiteY6" fmla="*/ 2969192 h 3970678"/>
              <a:gd name="connsiteX7" fmla="*/ 12192431 w 12192431"/>
              <a:gd name="connsiteY7" fmla="*/ 3961969 h 3970678"/>
              <a:gd name="connsiteX8" fmla="*/ 11208362 w 12192431"/>
              <a:gd name="connsiteY8" fmla="*/ 3953045 h 3970678"/>
              <a:gd name="connsiteX9" fmla="*/ 984068 w 12192431"/>
              <a:gd name="connsiteY9" fmla="*/ 3953045 h 3970678"/>
              <a:gd name="connsiteX10" fmla="*/ 0 w 12192431"/>
              <a:gd name="connsiteY10" fmla="*/ 3970678 h 3970678"/>
              <a:gd name="connsiteX11" fmla="*/ 215 w 12192431"/>
              <a:gd name="connsiteY11" fmla="*/ 2969192 h 3970678"/>
              <a:gd name="connsiteX12" fmla="*/ 10848 w 12192431"/>
              <a:gd name="connsiteY12" fmla="*/ 12658 h 3970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431" h="3970678">
                <a:moveTo>
                  <a:pt x="10848" y="12658"/>
                </a:moveTo>
                <a:lnTo>
                  <a:pt x="718254" y="14583"/>
                </a:lnTo>
                <a:lnTo>
                  <a:pt x="718254" y="836340"/>
                </a:lnTo>
                <a:lnTo>
                  <a:pt x="10990647" y="827529"/>
                </a:lnTo>
                <a:cubicBezTo>
                  <a:pt x="10987744" y="551686"/>
                  <a:pt x="10984842" y="275843"/>
                  <a:pt x="10981939" y="0"/>
                </a:cubicBezTo>
                <a:lnTo>
                  <a:pt x="12192215" y="17418"/>
                </a:lnTo>
                <a:lnTo>
                  <a:pt x="12192215" y="2969192"/>
                </a:lnTo>
                <a:lnTo>
                  <a:pt x="12192431" y="3961969"/>
                </a:lnTo>
                <a:lnTo>
                  <a:pt x="11208362" y="3953045"/>
                </a:lnTo>
                <a:lnTo>
                  <a:pt x="984068" y="3953045"/>
                </a:lnTo>
                <a:lnTo>
                  <a:pt x="0" y="3970678"/>
                </a:lnTo>
                <a:cubicBezTo>
                  <a:pt x="72" y="3636849"/>
                  <a:pt x="143" y="3303021"/>
                  <a:pt x="215" y="2969192"/>
                </a:cubicBezTo>
                <a:cubicBezTo>
                  <a:pt x="3759" y="1983681"/>
                  <a:pt x="7304" y="998169"/>
                  <a:pt x="10848" y="12658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482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3D1E99-0845-447A-9031-65FA317316B8}" type="datetimeFigureOut">
              <a:rPr lang="en-US" smtClean="0"/>
              <a:t>3/13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20797-FCF4-492A-A828-CBC0DD9B33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60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u="none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u="none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29755F-92A9-F821-E626-BA616127E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597887" cy="489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 Should be a sentenc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38E62-03E5-BD18-4A2E-DA5EA97770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BF0B29-B0D8-DACE-9D2F-E39880D65DE4}"/>
              </a:ext>
            </a:extLst>
          </p:cNvPr>
          <p:cNvSpPr txBox="1"/>
          <p:nvPr userDrawn="1"/>
        </p:nvSpPr>
        <p:spPr>
          <a:xfrm>
            <a:off x="7126357" y="6477000"/>
            <a:ext cx="459257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900" b="0" noProof="0" dirty="0">
                <a:solidFill>
                  <a:schemeClr val="tx1"/>
                </a:solidFill>
                <a:latin typeface="Kievit Offc" panose="020B0504030101020102" pitchFamily="34" charset="77"/>
              </a:rPr>
              <a:t>Oregon State University | AMP </a:t>
            </a:r>
            <a:r>
              <a:rPr lang="en-US" sz="900" noProof="0" dirty="0">
                <a:solidFill>
                  <a:schemeClr val="tx1"/>
                </a:solidFill>
                <a:latin typeface="Kievit Offc" panose="020B0504030101020102" pitchFamily="34" charset="77"/>
              </a:rPr>
              <a:t>| Page </a:t>
            </a: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Kievit Offc" panose="020B0504030101020102" pitchFamily="34" charset="77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Kievit Offc" panose="020B050403010102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1972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491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Stratum2 Regular" panose="020B05060300000200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ievit Offc Medium" panose="020B0604030101020102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ievit Offc Medium" panose="020B0604030101020102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ievit Offc Medium" panose="020B0604030101020102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ievit Offc Medium" panose="020B0604030101020102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ievit Offc Medium" panose="020B0604030101020102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hyperlink" Target="mailto:hrsupportservices@oregonstate.edu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HRSupportServices@oregonstate.edu" TargetMode="External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hr.oregonstate.edu/employees/administrators-supervisors/summer-session-appointment-process" TargetMode="External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mysupport.oregonstate.edu/esp" TargetMode="External"/><Relationship Id="rId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r.oregonstate.edu/employees/administrators-supervisors/summer-session-appointment-process" TargetMode="External"/><Relationship Id="rId5" Type="http://schemas.openxmlformats.org/officeDocument/2006/relationships/hyperlink" Target="mailto:HRSupportServices@oregonstate.edu" TargetMode="External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r.oregonstate.edu/calendar-and-communications" TargetMode="External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emf"/><Relationship Id="rId11" Type="http://schemas.openxmlformats.org/officeDocument/2006/relationships/image" Target="../media/image58.svg"/><Relationship Id="rId5" Type="http://schemas.openxmlformats.org/officeDocument/2006/relationships/image" Target="../media/image53.emf"/><Relationship Id="rId10" Type="http://schemas.openxmlformats.org/officeDocument/2006/relationships/image" Target="../media/image57.png"/><Relationship Id="rId4" Type="http://schemas.openxmlformats.org/officeDocument/2006/relationships/image" Target="../media/image52.svg"/><Relationship Id="rId9" Type="http://schemas.openxmlformats.org/officeDocument/2006/relationships/image" Target="../media/image5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svg"/><Relationship Id="rId4" Type="http://schemas.openxmlformats.org/officeDocument/2006/relationships/image" Target="../media/image7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9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HRRecruitment@oregonstate.edu" TargetMode="External"/><Relationship Id="rId5" Type="http://schemas.openxmlformats.org/officeDocument/2006/relationships/hyperlink" Target="mailto:keenyn.santiago@oregonstate.edu" TargetMode="External"/><Relationship Id="rId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jpeg"/><Relationship Id="rId4" Type="http://schemas.openxmlformats.org/officeDocument/2006/relationships/image" Target="../media/image6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44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HR/PAYROLL FOR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i="1" dirty="0">
                <a:latin typeface="Verdana" charset="0"/>
                <a:ea typeface="Verdana" charset="0"/>
                <a:cs typeface="Verdana" charset="0"/>
              </a:rPr>
              <a:t>March 13, 2026</a:t>
            </a:r>
          </a:p>
          <a:p>
            <a:endParaRPr lang="en-US" dirty="0"/>
          </a:p>
        </p:txBody>
      </p:sp>
      <p:pic>
        <p:nvPicPr>
          <p:cNvPr id="5" name="Graphic 4" descr="Four Leaf Clover outline">
            <a:extLst>
              <a:ext uri="{FF2B5EF4-FFF2-40B4-BE49-F238E27FC236}">
                <a16:creationId xmlns:a16="http://schemas.microsoft.com/office/drawing/2014/main" id="{691AED14-46BB-4812-932F-D9A8A3DB73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19144" y="3429000"/>
            <a:ext cx="82296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625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513B5-0072-28DA-B793-1927D1E9C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A7129B-DBAD-8DE2-7765-C7635473B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>
                <a:latin typeface="Verdana"/>
                <a:ea typeface="Verdana"/>
              </a:rPr>
              <a:t>OPE Composite rate increase</a:t>
            </a:r>
            <a:endParaRPr lang="en-US" sz="3000" dirty="0">
              <a:highlight>
                <a:srgbClr val="FFFF00"/>
              </a:highlight>
              <a:latin typeface="Verdana"/>
              <a:ea typeface="Verdana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88208EA-1926-954E-F5FC-CD55FB50FF9C}"/>
              </a:ext>
            </a:extLst>
          </p:cNvPr>
          <p:cNvSpPr txBox="1">
            <a:spLocks/>
          </p:cNvSpPr>
          <p:nvPr/>
        </p:nvSpPr>
        <p:spPr>
          <a:xfrm>
            <a:off x="1385986" y="1516966"/>
            <a:ext cx="8708990" cy="42437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sz="1600" dirty="0">
                <a:solidFill>
                  <a:srgbClr val="000000"/>
                </a:solidFill>
                <a:ea typeface="Verdana"/>
              </a:rPr>
              <a:t>Effective 3/1/26 for PEBB enrolled employees:</a:t>
            </a:r>
            <a:endParaRPr lang="en-US" sz="1600" dirty="0">
              <a:ea typeface="Verdana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srgbClr val="000000"/>
                </a:solidFill>
                <a:ea typeface="Verdana"/>
              </a:rPr>
              <a:t>PSA OPE increases from $1,658 to $1,725 per month</a:t>
            </a: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srgbClr val="000000"/>
                </a:solidFill>
                <a:ea typeface="Verdana"/>
              </a:rPr>
              <a:t>TAY OPE increases from $232.81 to $513.29 (for 9-month employees)</a:t>
            </a:r>
          </a:p>
          <a:p>
            <a:pPr marL="457200" lvl="1" indent="0">
              <a:lnSpc>
                <a:spcPct val="100000"/>
              </a:lnSpc>
              <a:spcBef>
                <a:spcPts val="1200"/>
              </a:spcBef>
              <a:buClrTx/>
              <a:buSzPct val="100000"/>
              <a:buNone/>
              <a:defRPr/>
            </a:pPr>
            <a:endParaRPr lang="en-US" sz="1600" dirty="0">
              <a:solidFill>
                <a:srgbClr val="000000"/>
              </a:solidFill>
              <a:ea typeface="Verdana"/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srgbClr val="000000"/>
                </a:solidFill>
                <a:ea typeface="Verdana"/>
              </a:rPr>
              <a:t>This rate will only affect the remaining four months of the fiscal year (FY26)</a:t>
            </a: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endParaRPr lang="en-US" sz="1600" dirty="0">
              <a:solidFill>
                <a:srgbClr val="000000"/>
              </a:solidFill>
              <a:ea typeface="Verdana"/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srgbClr val="000000"/>
                </a:solidFill>
                <a:ea typeface="Verdana"/>
              </a:rPr>
              <a:t>Starting with Workday in July OPE charges will change to a percentage of an employee's pay as part of the switch to pooled fringe rates</a:t>
            </a: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Font typeface="Courier New"/>
              <a:buChar char="o"/>
              <a:defRPr/>
            </a:pPr>
            <a:endParaRPr lang="en-US" sz="1400" dirty="0">
              <a:solidFill>
                <a:srgbClr val="000000"/>
              </a:solidFill>
              <a:ea typeface="Verdana"/>
            </a:endParaRPr>
          </a:p>
        </p:txBody>
      </p:sp>
      <p:pic>
        <p:nvPicPr>
          <p:cNvPr id="3" name="Picture Placeholder 2" descr="Unicorn with solid fill">
            <a:extLst>
              <a:ext uri="{FF2B5EF4-FFF2-40B4-BE49-F238E27FC236}">
                <a16:creationId xmlns:a16="http://schemas.microsoft.com/office/drawing/2014/main" id="{AF991EC4-CE56-2983-A3D2-BA85B2471FB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57" b="157"/>
          <a:stretch/>
        </p:blipFill>
        <p:spPr>
          <a:xfrm>
            <a:off x="617041" y="658978"/>
            <a:ext cx="504121" cy="50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70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8E8F1-3D22-01DB-BBCC-8A9D45D19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495E3-399D-8376-D106-0E68697DB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Summer Academic Wage (SAW) appointment proces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41A4239-936B-F4F9-7D18-299742A12DCE}"/>
              </a:ext>
            </a:extLst>
          </p:cNvPr>
          <p:cNvSpPr txBox="1">
            <a:spLocks/>
          </p:cNvSpPr>
          <p:nvPr/>
        </p:nvSpPr>
        <p:spPr>
          <a:xfrm>
            <a:off x="1294546" y="1809574"/>
            <a:ext cx="10601798" cy="39328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sz="1600" dirty="0">
                <a:solidFill>
                  <a:prstClr val="black"/>
                </a:solidFill>
                <a:ea typeface="Verdana"/>
              </a:rPr>
              <a:t>Summer Academic Wage processing is right around the corner!  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endParaRPr lang="en-US" sz="1600" dirty="0">
              <a:solidFill>
                <a:prstClr val="black"/>
              </a:solidFill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sz="1600" dirty="0">
                <a:solidFill>
                  <a:prstClr val="black"/>
                </a:solidFill>
                <a:ea typeface="Verdana"/>
              </a:rPr>
              <a:t>Summer Academic Wage processing is for 9-month employees that are being asked to work over the summer months (June 16 – September 15)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endParaRPr lang="en-US" sz="1600" dirty="0">
              <a:solidFill>
                <a:prstClr val="black"/>
              </a:solidFill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sz="1600" dirty="0">
                <a:solidFill>
                  <a:prstClr val="black"/>
                </a:solidFill>
                <a:ea typeface="Verdana"/>
              </a:rPr>
              <a:t>HR Support Services is your team for processing Summer Academic Wage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endParaRPr lang="en-US" sz="1600" dirty="0">
              <a:solidFill>
                <a:prstClr val="black"/>
              </a:solidFill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en-US" sz="1600" b="1" dirty="0">
                <a:solidFill>
                  <a:prstClr val="black"/>
                </a:solidFill>
                <a:ea typeface="Verdana"/>
              </a:rPr>
              <a:t>You will not see a change in processing for Summer Academic Wage  this year and will continue to submit your spreadsheets to </a:t>
            </a:r>
            <a:r>
              <a:rPr lang="en-US" sz="1600" b="1" dirty="0">
                <a:solidFill>
                  <a:srgbClr val="00859B"/>
                </a:solidFill>
                <a:ea typeface="Verdana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supportservices@oregonstate.edu</a:t>
            </a:r>
            <a:r>
              <a:rPr lang="en-US" sz="1600" b="1" dirty="0">
                <a:solidFill>
                  <a:srgbClr val="00859B"/>
                </a:solidFill>
                <a:ea typeface="Verdana"/>
              </a:rPr>
              <a:t> </a:t>
            </a:r>
            <a:endParaRPr lang="en-US" sz="1600" b="1" dirty="0">
              <a:solidFill>
                <a:srgbClr val="00859B"/>
              </a:solidFill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Courier New" panose="02070309020205020404" pitchFamily="49" charset="0"/>
              <a:buChar char="•"/>
              <a:defRPr/>
            </a:pPr>
            <a:endParaRPr lang="en-US" sz="1600" dirty="0">
              <a:solidFill>
                <a:prstClr val="black"/>
              </a:solidFill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FontTx/>
              <a:buChar char="•"/>
              <a:defRPr/>
            </a:pPr>
            <a:endParaRPr lang="en-US" sz="1800" dirty="0">
              <a:solidFill>
                <a:prstClr val="black"/>
              </a:solidFill>
            </a:endParaRPr>
          </a:p>
        </p:txBody>
      </p:sp>
      <p:pic>
        <p:nvPicPr>
          <p:cNvPr id="3" name="Picture Placeholder 2" descr="Sun with solid fill">
            <a:extLst>
              <a:ext uri="{FF2B5EF4-FFF2-40B4-BE49-F238E27FC236}">
                <a16:creationId xmlns:a16="http://schemas.microsoft.com/office/drawing/2014/main" id="{869932DC-D904-CB11-032D-D73E6C51E4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57" b="157"/>
          <a:stretch/>
        </p:blipFill>
        <p:spPr>
          <a:xfrm>
            <a:off x="617041" y="658978"/>
            <a:ext cx="504121" cy="50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031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86F96-75A2-3BE5-102A-A3785BB14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Key Information</a:t>
            </a:r>
            <a:endParaRPr lang="en-US" dirty="0"/>
          </a:p>
        </p:txBody>
      </p:sp>
      <p:pic>
        <p:nvPicPr>
          <p:cNvPr id="5" name="Picture Placeholder 4" descr="Tropical scene with solid fill">
            <a:extLst>
              <a:ext uri="{FF2B5EF4-FFF2-40B4-BE49-F238E27FC236}">
                <a16:creationId xmlns:a16="http://schemas.microsoft.com/office/drawing/2014/main" id="{A590C6CF-AEE6-F5CD-4B36-7830C8CA6E6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7041" y="658978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543526-AD75-A891-B44B-EC88146C8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0501" y="1572955"/>
            <a:ext cx="9288251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Departments can start sending completed spreadsheets to </a:t>
            </a:r>
            <a:r>
              <a:rPr lang="en-US" sz="1600" dirty="0">
                <a:solidFill>
                  <a:srgbClr val="00859B"/>
                </a:solidFill>
                <a:ea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SupportServices@oregonstate.edu</a:t>
            </a:r>
            <a:r>
              <a:rPr lang="en-US" sz="1600" dirty="0">
                <a:solidFill>
                  <a:srgbClr val="00859B"/>
                </a:solidFill>
                <a:ea typeface="Verdana"/>
              </a:rPr>
              <a:t> </a:t>
            </a:r>
            <a:r>
              <a:rPr lang="en-US" sz="1600" dirty="0">
                <a:ea typeface="Verdana"/>
              </a:rPr>
              <a:t>as soon as they are ready to 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endParaRPr lang="en-US" sz="1600" dirty="0"/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Typically, we see spreadsheets starting May 1</a:t>
            </a:r>
            <a:endParaRPr lang="en-US" sz="1600" baseline="300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baseline="300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Spreadsheets submitted for June payment need to be submitted early to ensure processing in Banner.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/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Spreadsheets submitted after June will be processed in Workday</a:t>
            </a: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1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AC6FF-DE30-956B-29C6-6E13B1334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Key Information cont.</a:t>
            </a:r>
            <a:endParaRPr lang="en-US" dirty="0"/>
          </a:p>
        </p:txBody>
      </p:sp>
      <p:pic>
        <p:nvPicPr>
          <p:cNvPr id="5" name="Picture Placeholder 4" descr="Tropical scene with solid fill">
            <a:extLst>
              <a:ext uri="{FF2B5EF4-FFF2-40B4-BE49-F238E27FC236}">
                <a16:creationId xmlns:a16="http://schemas.microsoft.com/office/drawing/2014/main" id="{F5AE9983-E172-1D00-5F7B-7ED24E4124D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F7898A-2061-4802-D845-B5BB725C9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9784" y="1153555"/>
            <a:ext cx="9397979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If you have changes or new appointments to report, please utilize the same spreadsheet/ticket that you submitted your original spreadsheet on utilizing the Corrections Tab at the bottom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/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Manual checks are mailed to the employee's current mailing address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Utilize the summer session spreadsheet found here: </a:t>
            </a:r>
            <a:r>
              <a:rPr lang="en-US" sz="1600" dirty="0">
                <a:solidFill>
                  <a:srgbClr val="00859B"/>
                </a:solidFill>
                <a:ea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mmer session appointment process</a:t>
            </a:r>
            <a:endParaRPr lang="en-US" sz="1600" dirty="0">
              <a:solidFill>
                <a:srgbClr val="00859B"/>
              </a:solidFill>
              <a:ea typeface="Verdana"/>
            </a:endParaRP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480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6A722-8F78-7FB8-386B-8500FED1A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New SAW Hires</a:t>
            </a:r>
            <a:endParaRPr lang="en-US" dirty="0"/>
          </a:p>
        </p:txBody>
      </p:sp>
      <p:pic>
        <p:nvPicPr>
          <p:cNvPr id="5" name="Picture Placeholder 4" descr="Sun with solid fill">
            <a:extLst>
              <a:ext uri="{FF2B5EF4-FFF2-40B4-BE49-F238E27FC236}">
                <a16:creationId xmlns:a16="http://schemas.microsoft.com/office/drawing/2014/main" id="{487B2AA0-5BAC-191A-25C3-99D48019B65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8908C6-E9D4-A8C3-3615-530888F52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8789" y="1079179"/>
            <a:ext cx="9879563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Employees who are new to OSU and will have a summer appointment need to go through the Instructor Pool for applying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Once they have applied you will add them to your spreadsheet for Summer Hiring under the "New SAW Hires" tab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Onboarding for new employees in the summer is informal; however, they are still required to complete required HR Paperwork like the I-9 and W-4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If your employee will also have a Fall Appointment they will be hired via Recruitment and will go through the formal onboarding process</a:t>
            </a: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6523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timeline of a summer session&#10;&#10;AI-generated content may be incorrect.">
            <a:extLst>
              <a:ext uri="{FF2B5EF4-FFF2-40B4-BE49-F238E27FC236}">
                <a16:creationId xmlns:a16="http://schemas.microsoft.com/office/drawing/2014/main" id="{88F93C9C-B510-974B-6FB1-CDB2F0A220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53" t="10033"/>
          <a:stretch>
            <a:fillRect/>
          </a:stretch>
        </p:blipFill>
        <p:spPr>
          <a:xfrm>
            <a:off x="1122750" y="1285332"/>
            <a:ext cx="10762695" cy="54348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0B9BC2-ED31-8519-0A67-7E6C091F4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Timeline</a:t>
            </a:r>
            <a:endParaRPr lang="en-US" dirty="0"/>
          </a:p>
        </p:txBody>
      </p:sp>
      <p:pic>
        <p:nvPicPr>
          <p:cNvPr id="4" name="Picture Placeholder 3" descr="Sun with solid fill">
            <a:extLst>
              <a:ext uri="{FF2B5EF4-FFF2-40B4-BE49-F238E27FC236}">
                <a16:creationId xmlns:a16="http://schemas.microsoft.com/office/drawing/2014/main" id="{EA889900-B151-2FA9-D245-EC6C51114BC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69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44EBB-D291-2B64-BC28-D05DB334D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Spreadsheet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5443F7-DFF5-2814-AD70-F88CECF60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sz="1600" dirty="0"/>
              <a:t>The spreadsheet is long and covers columns A-Z</a:t>
            </a:r>
            <a:endParaRPr lang="en-US" dirty="0"/>
          </a:p>
          <a:p>
            <a:pPr marL="227965" indent="-227965"/>
            <a:endParaRPr lang="en-US" sz="1600" dirty="0">
              <a:ea typeface="Verdana"/>
            </a:endParaRPr>
          </a:p>
          <a:p>
            <a:pPr marL="227965" indent="-227965"/>
            <a:endParaRPr lang="en-US" sz="1600" dirty="0">
              <a:ea typeface="Verdana"/>
            </a:endParaRPr>
          </a:p>
          <a:p>
            <a:pPr marL="227965" indent="-227965"/>
            <a:endParaRPr lang="en-US" sz="1600" dirty="0">
              <a:ea typeface="Verdana"/>
            </a:endParaRPr>
          </a:p>
          <a:p>
            <a:pPr marL="227965" indent="-227965"/>
            <a:endParaRPr lang="en-US" sz="1600" dirty="0">
              <a:ea typeface="Verdana"/>
            </a:endParaRPr>
          </a:p>
          <a:p>
            <a:pPr marL="227965" indent="-227965"/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sz="1600" dirty="0">
                <a:ea typeface="Verdana"/>
              </a:rPr>
              <a:t>Please note at the bottom of the spreadsheet is where you will find the various correction tabs</a:t>
            </a:r>
            <a:endParaRPr lang="en-US" sz="1600" dirty="0"/>
          </a:p>
          <a:p>
            <a:pPr marL="227965" indent="-227965"/>
            <a:endParaRPr lang="en-US" dirty="0"/>
          </a:p>
        </p:txBody>
      </p:sp>
      <p:pic>
        <p:nvPicPr>
          <p:cNvPr id="11" name="Picture 10" descr="A screenshot of a spreadsheet&#10;&#10;AI-generated content may be incorrect.">
            <a:extLst>
              <a:ext uri="{FF2B5EF4-FFF2-40B4-BE49-F238E27FC236}">
                <a16:creationId xmlns:a16="http://schemas.microsoft.com/office/drawing/2014/main" id="{75C6EF5B-5522-4909-3438-BC4F9DD55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8843"/>
            <a:ext cx="12192000" cy="984814"/>
          </a:xfrm>
          <a:prstGeom prst="rect">
            <a:avLst/>
          </a:prstGeom>
        </p:spPr>
      </p:pic>
      <p:pic>
        <p:nvPicPr>
          <p:cNvPr id="12" name="Picture 1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D42DC3C-5193-6E31-B1D0-1BEE1E6400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5" y="4073491"/>
            <a:ext cx="12192000" cy="1382252"/>
          </a:xfrm>
          <a:prstGeom prst="rect">
            <a:avLst/>
          </a:prstGeom>
        </p:spPr>
      </p:pic>
      <p:pic>
        <p:nvPicPr>
          <p:cNvPr id="3" name="Picture Placeholder 2" descr="Sun with solid fill">
            <a:extLst>
              <a:ext uri="{FF2B5EF4-FFF2-40B4-BE49-F238E27FC236}">
                <a16:creationId xmlns:a16="http://schemas.microsoft.com/office/drawing/2014/main" id="{97B187E7-4948-AA85-8010-766C197785F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57" b="157"/>
          <a:stretch/>
        </p:blipFill>
        <p:spPr>
          <a:xfrm>
            <a:off x="617041" y="658978"/>
            <a:ext cx="504121" cy="50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428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0D596-EB9D-C439-128D-C04B2F102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Corrections/Additions</a:t>
            </a:r>
            <a:endParaRPr lang="en-US" dirty="0"/>
          </a:p>
        </p:txBody>
      </p:sp>
      <p:pic>
        <p:nvPicPr>
          <p:cNvPr id="5" name="Picture Placeholder 4" descr="Tropical scene with solid fill">
            <a:extLst>
              <a:ext uri="{FF2B5EF4-FFF2-40B4-BE49-F238E27FC236}">
                <a16:creationId xmlns:a16="http://schemas.microsoft.com/office/drawing/2014/main" id="{2BD7AAD7-6B12-FB45-EA6F-56F9287837A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D7847-A0FC-9C3F-AB35-93A077F74B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7077" y="1234627"/>
            <a:ext cx="9879564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Utilize HRSD to send an updated spreadsheet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b="1" dirty="0">
                <a:ea typeface="Verdana"/>
              </a:rPr>
              <a:t>REMINDER:</a:t>
            </a:r>
            <a:r>
              <a:rPr lang="en-US" sz="1600" dirty="0">
                <a:ea typeface="Verdana"/>
              </a:rPr>
              <a:t> When you submit a correction to a previously submitted request you need to submit it as what the new total FTE or lump sum amount is</a:t>
            </a:r>
          </a:p>
          <a:p>
            <a:pPr marL="742304" lvl="1" indent="-285115" defTabSz="914400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4"/>
              </a:buBlip>
              <a:defRPr/>
            </a:pPr>
            <a:r>
              <a:rPr lang="en-US" sz="1600" dirty="0">
                <a:ea typeface="Verdana"/>
              </a:rPr>
              <a:t>EG: Employee A is paid $500 to teach one class during Session 1</a:t>
            </a:r>
          </a:p>
          <a:p>
            <a:pPr marL="742304" lvl="1" indent="-285115" defTabSz="914400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4"/>
              </a:buBlip>
              <a:defRPr/>
            </a:pPr>
            <a:r>
              <a:rPr lang="en-US" sz="1600" dirty="0">
                <a:ea typeface="Verdana"/>
              </a:rPr>
              <a:t>Registration requires the opening of another session, and Employee A is now being asked to teach a second class during Session 1</a:t>
            </a:r>
          </a:p>
          <a:p>
            <a:pPr marL="742304" lvl="1" indent="-285115" defTabSz="914400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4"/>
              </a:buBlip>
              <a:defRPr/>
            </a:pPr>
            <a:r>
              <a:rPr lang="en-US" sz="1600" dirty="0">
                <a:ea typeface="Verdana"/>
              </a:rPr>
              <a:t>Department submits an updated spreadsheet utilizing one of the Corrections Tab. The new request now shows that the employee will be getting paid $1000 total for their summer appointment</a:t>
            </a: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2284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60759-D53B-C89D-70BA-9FA882D6E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Letters</a:t>
            </a:r>
            <a:endParaRPr lang="en-US" dirty="0"/>
          </a:p>
        </p:txBody>
      </p:sp>
      <p:pic>
        <p:nvPicPr>
          <p:cNvPr id="5" name="Picture Placeholder 4" descr="Tropical scene with solid fill">
            <a:extLst>
              <a:ext uri="{FF2B5EF4-FFF2-40B4-BE49-F238E27FC236}">
                <a16:creationId xmlns:a16="http://schemas.microsoft.com/office/drawing/2014/main" id="{96A94B5C-2221-6652-6930-840D0BACCF5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7041" y="658978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4238CC-1EF3-DF77-3D25-4E33480EDE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9645" y="1252915"/>
            <a:ext cx="9879564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Notice of Appointment Letters will be generated and distributed at time of processing</a:t>
            </a:r>
            <a:endParaRPr lang="en-US" sz="1600" dirty="0"/>
          </a:p>
          <a:p>
            <a:pPr marL="742304" lvl="1" indent="-285115" defTabSz="914400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4"/>
              </a:buBlip>
              <a:defRPr/>
            </a:pPr>
            <a:r>
              <a:rPr lang="en-US" sz="1600" dirty="0">
                <a:ea typeface="Verdana"/>
              </a:rPr>
              <a:t>For appointments set up prior to July letters will be sent to employees via HRSD with letters viewable via the Employee Service Portal: </a:t>
            </a:r>
            <a:r>
              <a:rPr lang="en-US" sz="1600" dirty="0">
                <a:solidFill>
                  <a:srgbClr val="00859B"/>
                </a:solidFill>
                <a:ea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ysupport.oregonstate.edu/esp</a:t>
            </a:r>
            <a:r>
              <a:rPr lang="en-US" sz="1600" dirty="0">
                <a:solidFill>
                  <a:srgbClr val="00859B"/>
                </a:solidFill>
                <a:ea typeface="Verdana"/>
              </a:rPr>
              <a:t> </a:t>
            </a:r>
          </a:p>
          <a:p>
            <a:pPr marL="742304" lvl="1" indent="-285115" defTabSz="914400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4"/>
              </a:buBlip>
              <a:defRPr/>
            </a:pPr>
            <a:r>
              <a:rPr lang="en-US" sz="1600" dirty="0">
                <a:ea typeface="Verdana"/>
              </a:rPr>
              <a:t>For appointments set up in Workday letters will be sent to the employee directly via their Workday inbox</a:t>
            </a: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9382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4E845-CE3A-C0C4-99DE-C53B94171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</a:rPr>
              <a:t>SAW Next Steps</a:t>
            </a:r>
            <a:endParaRPr lang="en-US" dirty="0"/>
          </a:p>
        </p:txBody>
      </p:sp>
      <p:pic>
        <p:nvPicPr>
          <p:cNvPr id="5" name="Picture Placeholder 4" descr="Tropical scene with solid fill">
            <a:extLst>
              <a:ext uri="{FF2B5EF4-FFF2-40B4-BE49-F238E27FC236}">
                <a16:creationId xmlns:a16="http://schemas.microsoft.com/office/drawing/2014/main" id="{0FB5A917-219A-383E-50BF-BAEE5C43AEC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31EECD-B4A4-D2CB-B889-52C1ED9C7C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221" y="1164687"/>
            <a:ext cx="7614899" cy="400488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endParaRPr lang="en-US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Departments can begin working on their spreadsheets now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/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Consider attending a help session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Contact </a:t>
            </a:r>
            <a:r>
              <a:rPr lang="en-US" sz="1600" dirty="0">
                <a:solidFill>
                  <a:srgbClr val="00859B"/>
                </a:solidFill>
                <a:ea typeface="Verdan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SupportServices@oregonstate.edu</a:t>
            </a:r>
            <a:r>
              <a:rPr lang="en-US" sz="1600" dirty="0">
                <a:solidFill>
                  <a:srgbClr val="00859B"/>
                </a:solidFill>
                <a:ea typeface="Verdana"/>
              </a:rPr>
              <a:t> </a:t>
            </a:r>
            <a:r>
              <a:rPr lang="en-US" sz="1600" dirty="0">
                <a:ea typeface="Verdana"/>
              </a:rPr>
              <a:t>with questions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endParaRPr lang="en-US" sz="1600" dirty="0">
              <a:ea typeface="Verdana"/>
            </a:endParaRP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en-US" sz="1600" dirty="0">
                <a:ea typeface="Verdana"/>
              </a:rPr>
              <a:t>Visit the SAW </a:t>
            </a:r>
            <a:r>
              <a:rPr lang="en-US" sz="1600" dirty="0">
                <a:solidFill>
                  <a:srgbClr val="00859B"/>
                </a:solidFill>
                <a:ea typeface="Verdana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sz="1600" dirty="0">
                <a:ea typeface="Verdana"/>
              </a:rPr>
              <a:t> to access helpful resources</a:t>
            </a:r>
          </a:p>
          <a:p>
            <a:pPr marL="227965" indent="-22796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089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1">
            <a:extLst>
              <a:ext uri="{FF2B5EF4-FFF2-40B4-BE49-F238E27FC236}">
                <a16:creationId xmlns:a16="http://schemas.microsoft.com/office/drawing/2014/main" id="{D7BE7717-C57C-314A-A83E-498187191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869" y="667821"/>
            <a:ext cx="9879563" cy="494927"/>
          </a:xfrm>
        </p:spPr>
        <p:txBody>
          <a:bodyPr>
            <a:noAutofit/>
          </a:bodyPr>
          <a:lstStyle/>
          <a:p>
            <a:r>
              <a:rPr lang="en-US" sz="3000" dirty="0"/>
              <a:t>General Information</a:t>
            </a:r>
          </a:p>
        </p:txBody>
      </p:sp>
      <p:pic>
        <p:nvPicPr>
          <p:cNvPr id="8" name="Picture Placeholder 7" descr="Information outline">
            <a:extLst>
              <a:ext uri="{FF2B5EF4-FFF2-40B4-BE49-F238E27FC236}">
                <a16:creationId xmlns:a16="http://schemas.microsoft.com/office/drawing/2014/main" id="{3A898FB8-FD83-6994-8965-C62AE9A70E0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57" b="157"/>
          <a:stretch>
            <a:fillRect/>
          </a:stretch>
        </p:blipFill>
        <p:spPr>
          <a:xfrm>
            <a:off x="595423" y="631120"/>
            <a:ext cx="542260" cy="542261"/>
          </a:xfrm>
        </p:spPr>
      </p:pic>
      <p:pic>
        <p:nvPicPr>
          <p:cNvPr id="27" name="Picture 26" descr="&quot;&quot;">
            <a:extLst>
              <a:ext uri="{FF2B5EF4-FFF2-40B4-BE49-F238E27FC236}">
                <a16:creationId xmlns:a16="http://schemas.microsoft.com/office/drawing/2014/main" id="{A2F275DB-A0AD-0143-AF80-F3A41A56B3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4482" y="1205211"/>
            <a:ext cx="607942" cy="607942"/>
          </a:xfrm>
          <a:prstGeom prst="rect">
            <a:avLst/>
          </a:prstGeom>
        </p:spPr>
      </p:pic>
      <p:pic>
        <p:nvPicPr>
          <p:cNvPr id="37" name="Picture 36" descr="&quot;&quot;">
            <a:extLst>
              <a:ext uri="{FF2B5EF4-FFF2-40B4-BE49-F238E27FC236}">
                <a16:creationId xmlns:a16="http://schemas.microsoft.com/office/drawing/2014/main" id="{F2FD1228-5240-B844-B5AB-F3F69A45CDA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722" y="2042667"/>
            <a:ext cx="607942" cy="607942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32ED967-487D-8A73-6453-359B65E18790}"/>
              </a:ext>
            </a:extLst>
          </p:cNvPr>
          <p:cNvSpPr txBox="1">
            <a:spLocks/>
          </p:cNvSpPr>
          <p:nvPr/>
        </p:nvSpPr>
        <p:spPr>
          <a:xfrm>
            <a:off x="1310856" y="1424698"/>
            <a:ext cx="10540102" cy="50030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"/>
                <a:ea typeface="Gill Sans" charset="0"/>
                <a:cs typeface="Gill Sans" charset="0"/>
              </a:rPr>
              <a:t>You can raise your hand or put your questions in the chat</a:t>
            </a: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"/>
              <a:ea typeface="Gill Sans" charset="0"/>
              <a:cs typeface="Gill Sans" charset="0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"/>
                <a:ea typeface="Gill Sans" charset="0"/>
                <a:cs typeface="Gill Sans" charset="0"/>
              </a:rPr>
              <a:t>Forums are always recorded</a:t>
            </a: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"/>
              <a:ea typeface="+mn-lt"/>
              <a:cs typeface="+mn-lt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"/>
                <a:ea typeface="+mn-lt"/>
                <a:cs typeface="+mn-lt"/>
              </a:rPr>
              <a:t>You can find recordings and slides for each forum on 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59B"/>
                </a:solidFill>
                <a:effectLst/>
                <a:uLnTx/>
                <a:uFillTx/>
                <a:latin typeface="Gill Sans"/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 Calendar and Communications website</a:t>
            </a:r>
            <a:r>
              <a:rPr lang="en-US" sz="1800" dirty="0">
                <a:solidFill>
                  <a:prstClr val="black"/>
                </a:solidFill>
                <a:latin typeface="Gill Sans"/>
                <a:ea typeface="+mn-lt"/>
                <a:cs typeface="+mn-lt"/>
              </a:rPr>
              <a:t>. 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"/>
                <a:ea typeface="+mn-lt"/>
                <a:cs typeface="+mn-lt"/>
              </a:rPr>
              <a:t>inks and topics for future sessions are also listed there.</a:t>
            </a: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"/>
              <a:ea typeface="Gill Sans" charset="0"/>
              <a:cs typeface="Gill Sans" charset="0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"/>
                <a:ea typeface="Gill Sans" charset="0"/>
                <a:cs typeface="Gill Sans" charset="0"/>
              </a:rPr>
              <a:t>This forum’s recording and slides will be emailed along with the registration link and list of topics for the next forum</a:t>
            </a: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C4405"/>
              </a:buClr>
              <a:buSzPct val="100000"/>
              <a:buFont typeface="Courier New" panose="02070309020205020404" pitchFamily="49" charset="0"/>
              <a:buBlip>
                <a:blip r:embed="rId7"/>
              </a:buBlip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" charset="0"/>
              <a:ea typeface="Gill Sans" charset="0"/>
              <a:cs typeface="Gill Sans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371D3B-3616-1A22-5A76-56F2A24210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400000">
            <a:off x="6424650" y="3429000"/>
            <a:ext cx="613767" cy="613767"/>
          </a:xfrm>
          <a:prstGeom prst="rect">
            <a:avLst/>
          </a:prstGeom>
        </p:spPr>
      </p:pic>
      <p:pic>
        <p:nvPicPr>
          <p:cNvPr id="5" name="Graphic 4" descr="Email outline">
            <a:extLst>
              <a:ext uri="{FF2B5EF4-FFF2-40B4-BE49-F238E27FC236}">
                <a16:creationId xmlns:a16="http://schemas.microsoft.com/office/drawing/2014/main" id="{011B1DF6-FDC0-BB83-7AEE-CBA047E769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885296" y="4469997"/>
            <a:ext cx="607942" cy="607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5499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01481-22B1-E1F3-29AA-A144609EC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4237" y="658628"/>
            <a:ext cx="10389679" cy="494927"/>
          </a:xfrm>
        </p:spPr>
        <p:txBody>
          <a:bodyPr>
            <a:noAutofit/>
          </a:bodyPr>
          <a:lstStyle/>
          <a:p>
            <a:r>
              <a:rPr lang="en-US" dirty="0">
                <a:latin typeface="+mj-lt"/>
                <a:ea typeface="Calibri Light"/>
                <a:cs typeface="Calibri Light"/>
              </a:rPr>
              <a:t>Fixed-Term Renewal Sneak Peek for April’s Forum:</a:t>
            </a:r>
            <a:endParaRPr lang="en-US" dirty="0">
              <a:latin typeface="+mj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6E5D90-4116-94E3-D458-97B96AB13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0904" y="1560848"/>
            <a:ext cx="9879564" cy="51878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dirty="0">
                <a:ea typeface="Calibri Light"/>
                <a:cs typeface="Calibri Light"/>
              </a:rPr>
              <a:t>What are Fixed-Term Academic Renewals?</a:t>
            </a:r>
            <a:endParaRPr lang="en-US" dirty="0"/>
          </a:p>
          <a:p>
            <a:pPr marL="227965" indent="-227965"/>
            <a:endParaRPr lang="en-US" sz="2400" b="1" dirty="0">
              <a:solidFill>
                <a:srgbClr val="404040"/>
              </a:solidFill>
              <a:latin typeface="Calibri Light"/>
              <a:ea typeface="Calibri Light"/>
              <a:cs typeface="Calibri Light"/>
            </a:endParaRPr>
          </a:p>
          <a:p>
            <a:pPr marL="227965" indent="-227965"/>
            <a:endParaRPr lang="en-US" sz="2400" b="1" dirty="0">
              <a:solidFill>
                <a:srgbClr val="404040"/>
              </a:solidFill>
              <a:latin typeface="Calibri Light"/>
              <a:ea typeface="Calibri Light"/>
              <a:cs typeface="Calibri Light"/>
            </a:endParaRPr>
          </a:p>
          <a:p>
            <a:pPr marL="227965" indent="-227965"/>
            <a:endParaRPr lang="en-US" sz="2400" b="1" dirty="0">
              <a:solidFill>
                <a:srgbClr val="404040"/>
              </a:solidFill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endParaRPr lang="en-US" sz="2400" b="1" dirty="0">
              <a:solidFill>
                <a:srgbClr val="404040"/>
              </a:solidFill>
              <a:latin typeface="Calibri Light"/>
              <a:ea typeface="Calibri Light"/>
              <a:cs typeface="Calibri Light"/>
            </a:endParaRPr>
          </a:p>
        </p:txBody>
      </p:sp>
      <p:pic>
        <p:nvPicPr>
          <p:cNvPr id="6" name="Picture 5" descr="A white background with black text&#10;&#10;AI-generated content may be incorrect.">
            <a:extLst>
              <a:ext uri="{FF2B5EF4-FFF2-40B4-BE49-F238E27FC236}">
                <a16:creationId xmlns:a16="http://schemas.microsoft.com/office/drawing/2014/main" id="{CDECB9D4-0897-E40F-A9CE-F8BCED3F2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1833" y="2121416"/>
            <a:ext cx="10290811" cy="19484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B282C8-986E-20FB-AC6C-87B639385C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749" y="4278700"/>
            <a:ext cx="10816167" cy="2385766"/>
          </a:xfrm>
          <a:prstGeom prst="rect">
            <a:avLst/>
          </a:prstGeom>
        </p:spPr>
      </p:pic>
      <p:pic>
        <p:nvPicPr>
          <p:cNvPr id="11" name="Picture Placeholder 10" descr="Checklist with solid fill">
            <a:extLst>
              <a:ext uri="{FF2B5EF4-FFF2-40B4-BE49-F238E27FC236}">
                <a16:creationId xmlns:a16="http://schemas.microsoft.com/office/drawing/2014/main" id="{7C27E0D7-B447-FC83-91DC-BBE5232F2F3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57" b="157"/>
          <a:stretch/>
        </p:blipFill>
        <p:spPr>
          <a:xfrm>
            <a:off x="618629" y="660565"/>
            <a:ext cx="504121" cy="50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5782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D03DA1-E5CF-808B-39E5-AFA188FC1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Picture Placeholder 4" descr="Thought outline">
            <a:extLst>
              <a:ext uri="{FF2B5EF4-FFF2-40B4-BE49-F238E27FC236}">
                <a16:creationId xmlns:a16="http://schemas.microsoft.com/office/drawing/2014/main" id="{0A837C31-6A86-4741-4DD3-0B73E7D1F8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5383551" y="2106707"/>
            <a:ext cx="1424900" cy="1424900"/>
          </a:xfrm>
        </p:spPr>
      </p:pic>
    </p:spTree>
    <p:extLst>
      <p:ext uri="{BB962C8B-B14F-4D97-AF65-F5344CB8AC3E}">
        <p14:creationId xmlns:p14="http://schemas.microsoft.com/office/powerpoint/2010/main" val="34253405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56624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/>
              <a:t>Agenda</a:t>
            </a:r>
          </a:p>
        </p:txBody>
      </p:sp>
      <p:pic>
        <p:nvPicPr>
          <p:cNvPr id="6" name="Picture Placeholder 5" descr="&quot;&quot;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" b="63"/>
          <a:stretch>
            <a:fillRect/>
          </a:stretch>
        </p:blipFill>
        <p:spPr>
          <a:xfrm>
            <a:off x="625481" y="649834"/>
            <a:ext cx="504121" cy="504122"/>
          </a:xfr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3923E9E-B63C-E87E-A001-0A00AA0D2A77}"/>
              </a:ext>
            </a:extLst>
          </p:cNvPr>
          <p:cNvSpPr txBox="1">
            <a:spLocks/>
          </p:cNvSpPr>
          <p:nvPr/>
        </p:nvSpPr>
        <p:spPr>
          <a:xfrm>
            <a:off x="1335127" y="1562686"/>
            <a:ext cx="10157782" cy="39602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nnouncements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UHR/AMP cutover dates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OPE rate increase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Summer Academic Wage (SAW) appointment process</a:t>
            </a:r>
          </a:p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Sneak peek at Fixed-Term Renewals for April Forum</a:t>
            </a:r>
          </a:p>
        </p:txBody>
      </p:sp>
    </p:spTree>
    <p:extLst>
      <p:ext uri="{BB962C8B-B14F-4D97-AF65-F5344CB8AC3E}">
        <p14:creationId xmlns:p14="http://schemas.microsoft.com/office/powerpoint/2010/main" val="4231928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FF79F-E6DB-ABE4-8E7D-FD4136B8E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B2518-E8E3-391E-D853-67B5CE54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Announcements</a:t>
            </a:r>
          </a:p>
        </p:txBody>
      </p:sp>
      <p:pic>
        <p:nvPicPr>
          <p:cNvPr id="6" name="Picture Placeholder 5" descr="&quot;&quot;">
            <a:extLst>
              <a:ext uri="{FF2B5EF4-FFF2-40B4-BE49-F238E27FC236}">
                <a16:creationId xmlns:a16="http://schemas.microsoft.com/office/drawing/2014/main" id="{364DBB4C-83F9-709C-E771-6ADDC308498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" b="157"/>
          <a:stretch>
            <a:fillRect/>
          </a:stretch>
        </p:blipFill>
        <p:spPr>
          <a:xfrm>
            <a:off x="615950" y="615033"/>
            <a:ext cx="570848" cy="5690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7A8DAA8-6CCF-45CC-427C-50A65F40B86D}"/>
              </a:ext>
            </a:extLst>
          </p:cNvPr>
          <p:cNvSpPr txBox="1"/>
          <p:nvPr/>
        </p:nvSpPr>
        <p:spPr>
          <a:xfrm>
            <a:off x="1186798" y="1421829"/>
            <a:ext cx="9996314" cy="526297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115" indent="-285115">
              <a:spcBef>
                <a:spcPts val="1200"/>
              </a:spcBef>
              <a:buSzPct val="100000"/>
              <a:buBlip>
                <a:blip r:embed="rId4"/>
              </a:buBlip>
              <a:defRPr/>
            </a:pPr>
            <a:r>
              <a:rPr lang="en-US" sz="1600" dirty="0"/>
              <a:t>OSU faculty and staff can sign up for a </a:t>
            </a:r>
            <a:r>
              <a:rPr lang="en-US" sz="1600" b="1" dirty="0"/>
              <a:t>free 3-day pass </a:t>
            </a:r>
            <a:r>
              <a:rPr lang="en-US" sz="1600" dirty="0"/>
              <a:t>to OSU’s recreation facilities. This offer is for new employees who attend orientation, but it is now being extended to current employees!</a:t>
            </a:r>
          </a:p>
          <a:p>
            <a:pPr marL="742315" lvl="1" indent="-285115">
              <a:spcBef>
                <a:spcPts val="1200"/>
              </a:spcBef>
              <a:buSzPct val="100000"/>
              <a:buBlip>
                <a:blip r:embed="rId4"/>
              </a:buBlip>
              <a:defRPr/>
            </a:pPr>
            <a:r>
              <a:rPr lang="en-US" sz="1600" dirty="0"/>
              <a:t>You can also choose an extra perk, such as a Fitness Foundations Class or obtaining a Belay Certification </a:t>
            </a:r>
          </a:p>
          <a:p>
            <a:pPr marL="742315" lvl="1" indent="-285115">
              <a:spcBef>
                <a:spcPts val="1200"/>
              </a:spcBef>
              <a:buSzPct val="100000"/>
              <a:buBlip>
                <a:blip r:embed="rId4"/>
              </a:buBlip>
              <a:defRPr/>
            </a:pPr>
            <a:r>
              <a:rPr lang="en-US" sz="1600" dirty="0"/>
              <a:t>If you have any questions, please reach out to Keenyn Santiago, Business Operations and Membership Coordinator in Recreational Sports, at </a:t>
            </a:r>
            <a:r>
              <a:rPr lang="en-US" sz="1600" dirty="0">
                <a:solidFill>
                  <a:srgbClr val="00859B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eenyn.santiago@oregonstate.edu</a:t>
            </a:r>
            <a:r>
              <a:rPr lang="en-US" sz="1600" dirty="0">
                <a:solidFill>
                  <a:srgbClr val="00859B"/>
                </a:solidFill>
              </a:rPr>
              <a:t> </a:t>
            </a:r>
          </a:p>
          <a:p>
            <a:pPr lvl="1">
              <a:spcBef>
                <a:spcPts val="1200"/>
              </a:spcBef>
              <a:buSzPct val="100000"/>
              <a:defRPr/>
            </a:pPr>
            <a:endParaRPr lang="en-US" sz="1600" dirty="0"/>
          </a:p>
          <a:p>
            <a:pPr lvl="1">
              <a:spcBef>
                <a:spcPts val="1200"/>
              </a:spcBef>
              <a:buSzPct val="100000"/>
              <a:defRPr/>
            </a:pPr>
            <a:endParaRPr lang="en-US" sz="1600" dirty="0"/>
          </a:p>
          <a:p>
            <a:r>
              <a:rPr lang="en-US" sz="1600" b="1" dirty="0"/>
              <a:t>Instructor Pool options as we transition to Workday:  </a:t>
            </a:r>
            <a:endParaRPr lang="en-US" sz="1600" dirty="0"/>
          </a:p>
          <a:p>
            <a:r>
              <a:rPr lang="en-US" sz="1600" dirty="0"/>
              <a:t> </a:t>
            </a:r>
          </a:p>
          <a:p>
            <a:pPr lvl="0"/>
            <a:r>
              <a:rPr lang="en-US" sz="1600" dirty="0"/>
              <a:t>Hiring units may wait to post their 2026/2027 Instructor pools until after Workday goes live July 6th; </a:t>
            </a:r>
            <a:r>
              <a:rPr lang="en-US" sz="1600" b="1" dirty="0"/>
              <a:t>OR</a:t>
            </a:r>
            <a:endParaRPr lang="en-US" sz="1600" dirty="0"/>
          </a:p>
          <a:p>
            <a:pPr lvl="0"/>
            <a:r>
              <a:rPr lang="en-US" sz="1600" dirty="0"/>
              <a:t>They may extend their current academic year pools to be able to hire through Fall term in PeopleAdmin and then create new pools, if needed, for Winter/Spring in Workday.  </a:t>
            </a:r>
          </a:p>
          <a:p>
            <a:r>
              <a:rPr lang="en-US" sz="1600" dirty="0"/>
              <a:t> </a:t>
            </a:r>
          </a:p>
          <a:p>
            <a:r>
              <a:rPr lang="en-US" sz="1600" dirty="0"/>
              <a:t>This is a one-time exception, and future years will need to follow the academic year timeline like we do now.  Please reach out to </a:t>
            </a:r>
            <a:r>
              <a:rPr lang="en-US" sz="1600" u="sng" dirty="0">
                <a:solidFill>
                  <a:srgbClr val="00859B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RRecruitment@oregonstate.edu</a:t>
            </a:r>
            <a:r>
              <a:rPr lang="en-US" sz="1600" dirty="0">
                <a:solidFill>
                  <a:srgbClr val="00859B"/>
                </a:solidFill>
              </a:rPr>
              <a:t> </a:t>
            </a:r>
            <a:r>
              <a:rPr lang="en-US" sz="1600" dirty="0"/>
              <a:t>if you have any questions. </a:t>
            </a:r>
          </a:p>
          <a:p>
            <a:pPr>
              <a:spcBef>
                <a:spcPts val="1200"/>
              </a:spcBef>
              <a:buSzPct val="100000"/>
              <a:defRPr/>
            </a:pPr>
            <a:endParaRPr lang="en-US" dirty="0">
              <a:solidFill>
                <a:srgbClr val="000000"/>
              </a:solidFill>
            </a:endParaRPr>
          </a:p>
          <a:p>
            <a:pPr lvl="1">
              <a:spcBef>
                <a:spcPts val="1200"/>
              </a:spcBef>
              <a:buSzPct val="100000"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3297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D22B2-61EA-3C40-19BE-1439B8AED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F99FE-EAA9-D61C-B149-7E4AC7EEE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>
                <a:latin typeface="Verdana"/>
                <a:ea typeface="Verdana"/>
              </a:rPr>
              <a:t>Announcement – National Student Employment Week </a:t>
            </a:r>
            <a:r>
              <a:rPr lang="en-US" sz="3000" b="0" dirty="0">
                <a:latin typeface="Verdana"/>
                <a:ea typeface="Verdana"/>
              </a:rPr>
              <a:t>(April 13-17)</a:t>
            </a:r>
            <a:endParaRPr lang="en-US" sz="3000" b="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E71465A-809C-21A5-1519-5635482B193B}"/>
              </a:ext>
            </a:extLst>
          </p:cNvPr>
          <p:cNvSpPr txBox="1">
            <a:spLocks/>
          </p:cNvSpPr>
          <p:nvPr/>
        </p:nvSpPr>
        <p:spPr>
          <a:xfrm>
            <a:off x="1335127" y="1562686"/>
            <a:ext cx="10157782" cy="50392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prstClr val="black"/>
                </a:solidFill>
                <a:ea typeface="Gill Sans" charset="0"/>
                <a:cs typeface="Gill Sans" charset="0"/>
              </a:rPr>
              <a:t>Celebration events happening at Corvallis, April 14 (3-5pm) and OSU-Cascades, April 15 (2-4 pm)</a:t>
            </a: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endParaRPr lang="en-US" sz="500" dirty="0">
              <a:solidFill>
                <a:prstClr val="black"/>
              </a:solidFill>
              <a:ea typeface="Gill Sans" charset="0"/>
              <a:cs typeface="Gill Sans" charset="0"/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prstClr val="black"/>
                </a:solidFill>
                <a:ea typeface="Gill Sans" charset="0"/>
                <a:cs typeface="Gill Sans" charset="0"/>
              </a:rPr>
              <a:t>"Wall of Fame" student appreciation </a:t>
            </a: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endParaRPr lang="en-US" sz="500" dirty="0">
              <a:solidFill>
                <a:prstClr val="black"/>
              </a:solidFill>
              <a:ea typeface="Gill Sans" charset="0"/>
              <a:cs typeface="Gill Sans" charset="0"/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prstClr val="black"/>
                </a:solidFill>
                <a:ea typeface="Gill Sans" charset="0"/>
                <a:cs typeface="Gill Sans" charset="0"/>
              </a:rPr>
              <a:t>Unit level activities</a:t>
            </a: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endParaRPr lang="en-US" sz="500" dirty="0">
              <a:solidFill>
                <a:prstClr val="black"/>
              </a:solidFill>
              <a:ea typeface="Gill Sans" charset="0"/>
              <a:cs typeface="Gill Sans" charset="0"/>
            </a:endParaRP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prstClr val="black"/>
                </a:solidFill>
                <a:latin typeface="Gill Sans"/>
                <a:ea typeface="Gill Sans" charset="0"/>
                <a:cs typeface="Gill Sans" charset="0"/>
              </a:rPr>
              <a:t>Keep an eye out for email from: </a:t>
            </a:r>
          </a:p>
          <a:p>
            <a:pPr marL="457200" lvl="1" indent="0">
              <a:buClrTx/>
              <a:buSzPct val="100000"/>
              <a:buNone/>
              <a:defRPr/>
            </a:pPr>
            <a:r>
              <a:rPr lang="en-US" sz="1600" b="1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Dan Larson</a:t>
            </a:r>
            <a:endParaRPr lang="en-US" sz="1600" b="1" dirty="0">
              <a:solidFill>
                <a:prstClr val="black"/>
              </a:solidFill>
              <a:latin typeface="Gill Sans"/>
              <a:cs typeface="Gill Sans" charset="0"/>
            </a:endParaRPr>
          </a:p>
          <a:p>
            <a:pPr marL="457200" lvl="1" indent="0">
              <a:buClrTx/>
              <a:buSzPct val="100000"/>
              <a:buNone/>
              <a:defRPr/>
            </a:pPr>
            <a:r>
              <a:rPr lang="en-US" sz="1600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Vice President for Student Affairs </a:t>
            </a:r>
            <a:endParaRPr lang="en-US" sz="1600" dirty="0">
              <a:solidFill>
                <a:prstClr val="black"/>
              </a:solidFill>
            </a:endParaRPr>
          </a:p>
          <a:p>
            <a:pPr marL="457200" lvl="1" indent="0">
              <a:buClrTx/>
              <a:buSzPct val="100000"/>
              <a:buNone/>
              <a:defRPr/>
            </a:pPr>
            <a:r>
              <a:rPr lang="en-US" sz="1600" b="1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Bonny Ray</a:t>
            </a:r>
            <a:endParaRPr lang="en-US" sz="1600" b="1" dirty="0">
              <a:solidFill>
                <a:prstClr val="black"/>
              </a:solidFill>
              <a:latin typeface="Gill Sans"/>
              <a:cs typeface="Gill Sans" charset="0"/>
            </a:endParaRPr>
          </a:p>
          <a:p>
            <a:pPr marL="457200" lvl="1" indent="0">
              <a:buClrTx/>
              <a:buSzPct val="100000"/>
              <a:buNone/>
              <a:defRPr/>
            </a:pPr>
            <a:r>
              <a:rPr lang="en-US" sz="1600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Executive Director, University Human Resources </a:t>
            </a:r>
            <a:endParaRPr lang="en-US" sz="1600" dirty="0">
              <a:solidFill>
                <a:prstClr val="black"/>
              </a:solidFill>
            </a:endParaRPr>
          </a:p>
          <a:p>
            <a:pPr lvl="1">
              <a:buClrTx/>
              <a:buSzPct val="100000"/>
              <a:defRPr/>
            </a:pPr>
            <a:endParaRPr lang="en-US" sz="500" dirty="0">
              <a:solidFill>
                <a:prstClr val="black"/>
              </a:solidFill>
              <a:latin typeface="Kievit Offc"/>
              <a:ea typeface="Gill Sans" charset="0"/>
              <a:cs typeface="Gill Sans" charset="0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lang="en-US" sz="1600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Links to student employee Video and SharePoint site </a:t>
            </a:r>
            <a:br>
              <a:rPr lang="en-US" sz="1600" dirty="0">
                <a:latin typeface="Kievit Offc"/>
                <a:ea typeface="Gill Sans" charset="0"/>
                <a:cs typeface="Gill Sans" charset="0"/>
              </a:rPr>
            </a:br>
            <a:r>
              <a:rPr lang="en-US" sz="1600" dirty="0">
                <a:solidFill>
                  <a:prstClr val="black"/>
                </a:solidFill>
                <a:latin typeface="Kievit Offc"/>
                <a:ea typeface="Gill Sans" charset="0"/>
                <a:cs typeface="Gill Sans" charset="0"/>
              </a:rPr>
              <a:t>with ways to get involved.  </a:t>
            </a:r>
          </a:p>
          <a:p>
            <a:pPr marL="285115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Char char="•"/>
              <a:defRPr/>
            </a:pPr>
            <a:endParaRPr lang="en-US" sz="1800" dirty="0">
              <a:solidFill>
                <a:prstClr val="black"/>
              </a:solidFill>
              <a:latin typeface="Gill Sans" charset="0"/>
              <a:ea typeface="Gill Sans" charset="0"/>
              <a:cs typeface="Gill Sans" charset="0"/>
            </a:endParaRPr>
          </a:p>
        </p:txBody>
      </p:sp>
      <p:pic>
        <p:nvPicPr>
          <p:cNvPr id="3" name="Picture Placeholder 5" descr="&quot;&quot;">
            <a:extLst>
              <a:ext uri="{FF2B5EF4-FFF2-40B4-BE49-F238E27FC236}">
                <a16:creationId xmlns:a16="http://schemas.microsoft.com/office/drawing/2014/main" id="{E3119C7E-244E-4DEA-EBED-DBF2168EC1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" b="157"/>
          <a:stretch>
            <a:fillRect/>
          </a:stretch>
        </p:blipFill>
        <p:spPr>
          <a:xfrm>
            <a:off x="615950" y="609399"/>
            <a:ext cx="581914" cy="580084"/>
          </a:xfrm>
          <a:prstGeom prst="rect">
            <a:avLst/>
          </a:prstGeom>
        </p:spPr>
      </p:pic>
      <p:pic>
        <p:nvPicPr>
          <p:cNvPr id="5" name="Picture 4" descr="A white and black sign with black text&#10;&#10;AI-generated content may be incorrect.">
            <a:extLst>
              <a:ext uri="{FF2B5EF4-FFF2-40B4-BE49-F238E27FC236}">
                <a16:creationId xmlns:a16="http://schemas.microsoft.com/office/drawing/2014/main" id="{8177C0FF-D80F-9EBF-1254-BBDB9F33DB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4738" y="2333625"/>
            <a:ext cx="4460042" cy="362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309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358EB-6278-4683-8DBE-9F3BBFAE5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1604A-05A9-C611-A9E7-BCB71B25E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Announcement – Financial Literacy Month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4B87810-1209-387C-225B-620F1F08875B}"/>
              </a:ext>
            </a:extLst>
          </p:cNvPr>
          <p:cNvSpPr txBox="1">
            <a:spLocks/>
          </p:cNvSpPr>
          <p:nvPr/>
        </p:nvSpPr>
        <p:spPr>
          <a:xfrm>
            <a:off x="1335127" y="1448855"/>
            <a:ext cx="10157782" cy="39602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800" b="0" i="0" u="none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6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C440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marR="0" lvl="0" indent="-28511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The OSU Employee Benefits Retirement Team invites all OSU Employees to attend financial literacy sessions in April for Financial Literacy Month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Registration is open now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!</a:t>
            </a: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Understanding Retirement Options at OSU. Led by OSU Retirement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pril 2, 9-10 a.m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Gill Sans" charset="0"/>
              <a:cs typeface="Gill Sans" charset="0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Build Smart Financial Habits for Success. Led by TIAA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pril 8, 1-2 p.m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Gill Sans" charset="0"/>
              <a:cs typeface="Gill Sans" charset="0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Fundamentals of Retirement Income Planning. Led Fidelity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pril 16, 12-1 p.m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Gill Sans" charset="0"/>
              <a:cs typeface="Gill Sans" charset="0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Introduction to Oregon Savings Growth Plan. Led by OSGP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pril 20, 2-3 p.m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Gill Sans" charset="0"/>
              <a:cs typeface="Gill Sans" charset="0"/>
            </a:endParaRPr>
          </a:p>
          <a:p>
            <a:pPr marL="742315" lvl="1" indent="-285115">
              <a:lnSpc>
                <a:spcPct val="100000"/>
              </a:lnSpc>
              <a:spcBef>
                <a:spcPts val="1200"/>
              </a:spcBef>
              <a:buClrTx/>
              <a:buSzPct val="100000"/>
              <a:buBlip>
                <a:blip r:embed="rId3"/>
              </a:buBlip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ll about OPSRP. Led by PERS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Gill Sans" charset="0"/>
                <a:cs typeface="Gill Sans" charset="0"/>
              </a:rPr>
              <a:t>April 28, 10-12 p.m.</a:t>
            </a:r>
          </a:p>
        </p:txBody>
      </p:sp>
      <p:pic>
        <p:nvPicPr>
          <p:cNvPr id="3" name="Picture Placeholder 5" descr="&quot;&quot;">
            <a:extLst>
              <a:ext uri="{FF2B5EF4-FFF2-40B4-BE49-F238E27FC236}">
                <a16:creationId xmlns:a16="http://schemas.microsoft.com/office/drawing/2014/main" id="{B6318B2D-C522-F1D5-5A4D-95BAC7B8EA5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" b="157"/>
          <a:stretch>
            <a:fillRect/>
          </a:stretch>
        </p:blipFill>
        <p:spPr>
          <a:xfrm>
            <a:off x="615949" y="621793"/>
            <a:ext cx="569481" cy="5676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5AE8C74-EC78-D33B-839C-C333E10961F4}"/>
              </a:ext>
            </a:extLst>
          </p:cNvPr>
          <p:cNvSpPr txBox="1"/>
          <p:nvPr/>
        </p:nvSpPr>
        <p:spPr>
          <a:xfrm>
            <a:off x="3669030" y="4722044"/>
            <a:ext cx="6094476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Attend as many sessions as you wish. To register, scan the QR code and search for Financial Literacy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All sessions will be held on Zoom.</a:t>
            </a:r>
          </a:p>
        </p:txBody>
      </p:sp>
      <p:pic>
        <p:nvPicPr>
          <p:cNvPr id="1026" name="Picture 2" descr="A qr code on a white background&#10;&#10;">
            <a:extLst>
              <a:ext uri="{FF2B5EF4-FFF2-40B4-BE49-F238E27FC236}">
                <a16:creationId xmlns:a16="http://schemas.microsoft.com/office/drawing/2014/main" id="{7D4A2DC7-57E1-8804-0259-BE30EF47D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494" y="4837177"/>
            <a:ext cx="1123950" cy="112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557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5D83C5-8472-3587-49D6-DB91E8E75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492CB-367B-9B46-EF38-EF7C3A72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UHR/AMP cutover dat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360392-49E6-0C29-370B-6530405EA144}"/>
              </a:ext>
            </a:extLst>
          </p:cNvPr>
          <p:cNvSpPr txBox="1"/>
          <p:nvPr/>
        </p:nvSpPr>
        <p:spPr>
          <a:xfrm>
            <a:off x="1236908" y="1911593"/>
            <a:ext cx="9528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ates associated with Position Descriptions (PDs) and Salary Changes: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839CD32-264F-98B6-370A-3C1E59CC52BB}"/>
              </a:ext>
            </a:extLst>
          </p:cNvPr>
          <p:cNvGrpSpPr/>
          <p:nvPr/>
        </p:nvGrpSpPr>
        <p:grpSpPr>
          <a:xfrm>
            <a:off x="826897" y="2832911"/>
            <a:ext cx="10338562" cy="696673"/>
            <a:chOff x="2185996" y="3140010"/>
            <a:chExt cx="3381874" cy="457201"/>
          </a:xfrm>
        </p:grpSpPr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A3D80F09-F3F6-A32F-BFDC-9B04238EA0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8288" y="3140011"/>
              <a:ext cx="1179582" cy="457200"/>
            </a:xfrm>
            <a:prstGeom prst="chevron">
              <a:avLst/>
            </a:prstGeom>
            <a:solidFill>
              <a:srgbClr val="D73F0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spc="300" dirty="0">
                  <a:solidFill>
                    <a:prstClr val="white"/>
                  </a:solidFill>
                  <a:ea typeface="Open Sans"/>
                  <a:cs typeface="Open Sans"/>
                </a:rPr>
                <a:t>Early July 2026 - Onward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FEA575CF-BE76-E3E4-15CE-6B185F9282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87141" y="3140011"/>
              <a:ext cx="1182694" cy="457200"/>
            </a:xfrm>
            <a:prstGeom prst="chevron">
              <a:avLst/>
            </a:prstGeom>
            <a:solidFill>
              <a:srgbClr val="00859B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spc="300" dirty="0">
                  <a:solidFill>
                    <a:prstClr val="white"/>
                  </a:solidFill>
                  <a:ea typeface="Open Sans"/>
                  <a:cs typeface="Open Sans"/>
                </a:rPr>
                <a:t>4/1/26 – July 20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C7A9D30F-315B-9A0D-0EAB-98F3E30FC2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85996" y="3140010"/>
              <a:ext cx="1179581" cy="457200"/>
            </a:xfrm>
            <a:prstGeom prst="chevron">
              <a:avLst/>
            </a:prstGeom>
            <a:solidFill>
              <a:srgbClr val="78787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"/>
                  <a:cs typeface="Open Sans"/>
                </a:rPr>
                <a:t>Now – 3/31/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77A35B5-997B-BC42-A1D0-3CEE15EEDC8A}"/>
              </a:ext>
            </a:extLst>
          </p:cNvPr>
          <p:cNvSpPr txBox="1"/>
          <p:nvPr/>
        </p:nvSpPr>
        <p:spPr>
          <a:xfrm>
            <a:off x="826897" y="3686209"/>
            <a:ext cx="32696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quests for Position Changes (reclassifications, reassignments, etc.) and off-cycle Salary Changes to UHR Classification and Compensation will be actively review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49F0A6-E644-E7B4-2574-4433BA16B25C}"/>
              </a:ext>
            </a:extLst>
          </p:cNvPr>
          <p:cNvSpPr txBox="1"/>
          <p:nvPr/>
        </p:nvSpPr>
        <p:spPr>
          <a:xfrm>
            <a:off x="4162168" y="3686205"/>
            <a:ext cx="3269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quests will not be received/reviewed (temporary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E15DA1-67D1-F4F7-5367-89BEB1B2F7A9}"/>
              </a:ext>
            </a:extLst>
          </p:cNvPr>
          <p:cNvSpPr txBox="1"/>
          <p:nvPr/>
        </p:nvSpPr>
        <p:spPr>
          <a:xfrm>
            <a:off x="7431782" y="3686207"/>
            <a:ext cx="32696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sume submitting Position Change and off-cycle Salary Change requests under normal opera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19D017-4545-DA84-13E5-8F0E39D75981}"/>
              </a:ext>
            </a:extLst>
          </p:cNvPr>
          <p:cNvSpPr txBox="1"/>
          <p:nvPr/>
        </p:nvSpPr>
        <p:spPr>
          <a:xfrm>
            <a:off x="1918218" y="5502878"/>
            <a:ext cx="899160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D73F0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t is important to get any requested changes to the Classification &amp; Compensation team prior to </a:t>
            </a:r>
            <a:r>
              <a:rPr lang="en-US" sz="16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pril 1, 2026</a:t>
            </a:r>
            <a:r>
              <a:rPr lang="en-US" sz="16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o make entries prior to the go-live date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Picture Placeholder 6" descr="Chevron arrows outline">
            <a:extLst>
              <a:ext uri="{FF2B5EF4-FFF2-40B4-BE49-F238E27FC236}">
                <a16:creationId xmlns:a16="http://schemas.microsoft.com/office/drawing/2014/main" id="{C5814E8F-E893-3CE1-1A7D-9393003B2CB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57" b="1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12930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B7DAE-D8A5-3CE4-06F1-257EDE3FA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24A195-D4F8-25FB-0C09-4BEDF610A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UHR/AMP cutover dates, con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BE81CA-C3E9-519C-F2D1-1551DF6F41DB}"/>
              </a:ext>
            </a:extLst>
          </p:cNvPr>
          <p:cNvSpPr txBox="1"/>
          <p:nvPr/>
        </p:nvSpPr>
        <p:spPr>
          <a:xfrm>
            <a:off x="2648712" y="1924633"/>
            <a:ext cx="68945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ates associated with Position Descriptions (PDs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54245F-BE66-A9D4-CA5E-3A009CC6CAA7}"/>
              </a:ext>
            </a:extLst>
          </p:cNvPr>
          <p:cNvGrpSpPr/>
          <p:nvPr/>
        </p:nvGrpSpPr>
        <p:grpSpPr>
          <a:xfrm>
            <a:off x="629819" y="2830647"/>
            <a:ext cx="10932362" cy="721347"/>
            <a:chOff x="2185996" y="3140010"/>
            <a:chExt cx="4486132" cy="457201"/>
          </a:xfrm>
        </p:grpSpPr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C0DC81FB-402E-9024-F1B9-658295059C8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89433" y="3140011"/>
              <a:ext cx="1182695" cy="457200"/>
            </a:xfrm>
            <a:prstGeom prst="chevron">
              <a:avLst/>
            </a:prstGeom>
            <a:solidFill>
              <a:srgbClr val="FFB5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Open Sans"/>
                  <a:cs typeface="Open Sans"/>
                </a:rPr>
                <a:t>Post-Early July 2026</a:t>
              </a:r>
              <a:endPara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609F8684-0B69-3E64-F1A8-9BF077BD5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8288" y="3140011"/>
              <a:ext cx="1179582" cy="457200"/>
            </a:xfrm>
            <a:prstGeom prst="chevron">
              <a:avLst/>
            </a:prstGeom>
            <a:solidFill>
              <a:srgbClr val="D73F0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/>
                  <a:cs typeface="Open Sans"/>
                </a:rPr>
                <a:t>Now – July 20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8D0A5FAF-72B5-49D2-4591-D5CDD1C336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87141" y="3140011"/>
              <a:ext cx="1182694" cy="457200"/>
            </a:xfrm>
            <a:prstGeom prst="chevron">
              <a:avLst/>
            </a:prstGeom>
            <a:solidFill>
              <a:srgbClr val="00859B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spc="300" dirty="0">
                  <a:solidFill>
                    <a:prstClr val="white"/>
                  </a:solidFill>
                  <a:ea typeface="Open Sans"/>
                  <a:cs typeface="Open Sans"/>
                </a:rPr>
                <a:t>Now – 4/1/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Rectangle 4">
              <a:extLst>
                <a:ext uri="{FF2B5EF4-FFF2-40B4-BE49-F238E27FC236}">
                  <a16:creationId xmlns:a16="http://schemas.microsoft.com/office/drawing/2014/main" id="{B1E11421-DBB5-1B46-3811-1D24D07966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85996" y="3140010"/>
              <a:ext cx="1179581" cy="457200"/>
            </a:xfrm>
            <a:prstGeom prst="chevron">
              <a:avLst/>
            </a:prstGeom>
            <a:solidFill>
              <a:srgbClr val="78787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"/>
                  <a:cs typeface="Open Sans"/>
                </a:rPr>
                <a:t>Immediately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50B0FEF-83C9-EE34-7CE7-E5F88FF44397}"/>
              </a:ext>
            </a:extLst>
          </p:cNvPr>
          <p:cNvSpPr txBox="1"/>
          <p:nvPr/>
        </p:nvSpPr>
        <p:spPr>
          <a:xfrm>
            <a:off x="629819" y="3683945"/>
            <a:ext cx="24974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quests for updates to non-recruited PDs in PeopleAdmin are </a:t>
            </a:r>
            <a:r>
              <a:rPr lang="en-US" sz="1600" i="1" dirty="0"/>
              <a:t>not</a:t>
            </a:r>
            <a:r>
              <a:rPr lang="en-US" sz="1600" dirty="0"/>
              <a:t> permitt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6B2552-5C3D-1A84-2D87-8EDD0049799D}"/>
              </a:ext>
            </a:extLst>
          </p:cNvPr>
          <p:cNvSpPr txBox="1"/>
          <p:nvPr/>
        </p:nvSpPr>
        <p:spPr>
          <a:xfrm>
            <a:off x="8680043" y="3683945"/>
            <a:ext cx="26140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Keep/retain PDs at the college or department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69A3DE-C9BF-6F5F-3838-E0FC8FDBA7D6}"/>
              </a:ext>
            </a:extLst>
          </p:cNvPr>
          <p:cNvSpPr txBox="1"/>
          <p:nvPr/>
        </p:nvSpPr>
        <p:spPr>
          <a:xfrm>
            <a:off x="5996631" y="3683945"/>
            <a:ext cx="250501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Limited/general PD changes can be updated locally; no UHR review or system filing required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7FCC73-046C-C77C-4D65-BE15733E1C7F}"/>
              </a:ext>
            </a:extLst>
          </p:cNvPr>
          <p:cNvSpPr txBox="1"/>
          <p:nvPr/>
        </p:nvSpPr>
        <p:spPr>
          <a:xfrm>
            <a:off x="3313225" y="3683945"/>
            <a:ext cx="24974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If a PD change may lead to a reclassification, these can be submitted to UHR Classification and Compensation for review.</a:t>
            </a:r>
          </a:p>
        </p:txBody>
      </p:sp>
      <p:pic>
        <p:nvPicPr>
          <p:cNvPr id="10" name="Picture Placeholder 9" descr="Chevron arrows outline">
            <a:extLst>
              <a:ext uri="{FF2B5EF4-FFF2-40B4-BE49-F238E27FC236}">
                <a16:creationId xmlns:a16="http://schemas.microsoft.com/office/drawing/2014/main" id="{AE246459-11E0-44D9-5241-5CA81498354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57" b="1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26949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0E238-D252-BDB4-1A97-E4BDFBEBA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C2F77-0766-7D3B-216F-3DAD11A1A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UHR/AMP cutover dates, con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05911E-7056-1BAB-340C-EDCA2D220D41}"/>
              </a:ext>
            </a:extLst>
          </p:cNvPr>
          <p:cNvSpPr txBox="1"/>
          <p:nvPr/>
        </p:nvSpPr>
        <p:spPr>
          <a:xfrm>
            <a:off x="2211484" y="1647730"/>
            <a:ext cx="68945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ates associated with </a:t>
            </a:r>
            <a:r>
              <a:rPr lang="en-US" sz="2000" b="1" dirty="0"/>
              <a:t>NEW</a:t>
            </a:r>
            <a:r>
              <a:rPr lang="en-US" sz="2000" dirty="0"/>
              <a:t> Recruiting and Hi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F3D3F2-6D21-3C75-DF6E-47F8062387AB}"/>
              </a:ext>
            </a:extLst>
          </p:cNvPr>
          <p:cNvSpPr txBox="1"/>
          <p:nvPr/>
        </p:nvSpPr>
        <p:spPr>
          <a:xfrm>
            <a:off x="1778636" y="5210270"/>
            <a:ext cx="8991600" cy="187743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Clr>
                <a:srgbClr val="D73F0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If a recruitment starts in PeopleAdmin </a:t>
            </a:r>
            <a:r>
              <a:rPr lang="en-US" sz="1600" i="1" dirty="0"/>
              <a:t>before</a:t>
            </a:r>
            <a:r>
              <a:rPr lang="en-US" sz="1600" dirty="0"/>
              <a:t> the temporary pause: It will continue in PeopleAdmin until completed, even if that’s after Workday go-live</a:t>
            </a:r>
          </a:p>
          <a:p>
            <a:pPr marL="285750" indent="-285750">
              <a:buClr>
                <a:srgbClr val="D73F0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*New employee start dates must be 6/12/26 or earlier, or 7/6/26 or later</a:t>
            </a:r>
          </a:p>
          <a:p>
            <a:pPr marL="285750" indent="-285750">
              <a:buClr>
                <a:srgbClr val="D73F0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*Academic hires and Graduate Assistant hires continue as normal</a:t>
            </a:r>
          </a:p>
          <a:p>
            <a:pPr marL="285750" indent="-285750">
              <a:buClr>
                <a:srgbClr val="D73F0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**Student employees do not have P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BDC01A-2E47-66B7-6F5A-6F7EF77F59F4}"/>
              </a:ext>
            </a:extLst>
          </p:cNvPr>
          <p:cNvGrpSpPr/>
          <p:nvPr/>
        </p:nvGrpSpPr>
        <p:grpSpPr>
          <a:xfrm>
            <a:off x="42673" y="2542016"/>
            <a:ext cx="10015728" cy="608257"/>
            <a:chOff x="2185996" y="3140010"/>
            <a:chExt cx="5684743" cy="45720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228E87A-2668-2526-A54F-010EE3745A5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89433" y="3140011"/>
              <a:ext cx="1182695" cy="457200"/>
            </a:xfrm>
            <a:prstGeom prst="chevron">
              <a:avLst/>
            </a:prstGeom>
            <a:solidFill>
              <a:srgbClr val="FFB5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Open Sans"/>
                  <a:cs typeface="Open Sans"/>
                </a:rPr>
                <a:t>6/22/26</a:t>
              </a:r>
              <a:endPara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3184CCFF-765C-8C0E-02CA-DD305795BD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8288" y="3140011"/>
              <a:ext cx="1179582" cy="457200"/>
            </a:xfrm>
            <a:prstGeom prst="chevron">
              <a:avLst/>
            </a:prstGeom>
            <a:solidFill>
              <a:srgbClr val="D73F0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/>
                  <a:cs typeface="Open Sans"/>
                </a:rPr>
                <a:t>Now – 6/21/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B376A65B-981A-769B-9A04-C172845576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87141" y="3140011"/>
              <a:ext cx="1182694" cy="457200"/>
            </a:xfrm>
            <a:prstGeom prst="chevron">
              <a:avLst/>
            </a:prstGeom>
            <a:solidFill>
              <a:srgbClr val="00859B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/>
                  <a:cs typeface="Open Sans"/>
                </a:rPr>
                <a:t>6/13/26 – 7/6/26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6714D4B8-A4FD-F9D6-2B75-AE82F1932A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85996" y="3140010"/>
              <a:ext cx="1179581" cy="457200"/>
            </a:xfrm>
            <a:prstGeom prst="chevron">
              <a:avLst/>
            </a:prstGeom>
            <a:solidFill>
              <a:srgbClr val="78787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"/>
                  <a:cs typeface="Open Sans"/>
                </a:rPr>
                <a:t>By 6/12/26</a:t>
              </a:r>
            </a:p>
          </p:txBody>
        </p:sp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F58EC902-44D4-1DB2-33D6-692D4782B5F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90579" y="3140010"/>
              <a:ext cx="1280160" cy="457201"/>
            </a:xfrm>
            <a:prstGeom prst="chevron">
              <a:avLst>
                <a:gd name="adj" fmla="val 51607"/>
              </a:avLst>
            </a:prstGeom>
            <a:solidFill>
              <a:srgbClr val="C4D6A4"/>
            </a:solidFill>
            <a:ln w="19050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tIns="91440" rIns="0" bIns="9144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Open Sans"/>
                  <a:cs typeface="Open Sans"/>
                </a:rPr>
                <a:t>By 6/30/26</a:t>
              </a:r>
              <a:endPara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0" name="Rectangle 4">
            <a:extLst>
              <a:ext uri="{FF2B5EF4-FFF2-40B4-BE49-F238E27FC236}">
                <a16:creationId xmlns:a16="http://schemas.microsoft.com/office/drawing/2014/main" id="{DB11E80D-7149-D765-126F-C5F79D38C7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02952" y="2542015"/>
            <a:ext cx="2255464" cy="608257"/>
          </a:xfrm>
          <a:prstGeom prst="chevron">
            <a:avLst>
              <a:gd name="adj" fmla="val 51607"/>
            </a:avLst>
          </a:prstGeom>
          <a:solidFill>
            <a:schemeClr val="bg1">
              <a:lumMod val="85000"/>
            </a:schemeClr>
          </a:solidFill>
          <a:ln w="19050" algn="ctr">
            <a:noFill/>
            <a:prstDash val="dash"/>
            <a:miter lim="800000"/>
            <a:headEnd/>
            <a:tailEnd/>
          </a:ln>
          <a:effectLst/>
        </p:spPr>
        <p:txBody>
          <a:bodyPr lIns="0" tIns="91440" rIns="0" bIns="9144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"/>
                <a:cs typeface="Open Sans"/>
              </a:rPr>
              <a:t>7/6/26</a:t>
            </a:r>
            <a:endParaRPr kumimoji="0" lang="en-US" sz="1600" b="1" i="0" u="none" strike="noStrike" kern="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62444E-2244-5606-A374-2401BF67B140}"/>
              </a:ext>
            </a:extLst>
          </p:cNvPr>
          <p:cNvSpPr txBox="1"/>
          <p:nvPr/>
        </p:nvSpPr>
        <p:spPr>
          <a:xfrm>
            <a:off x="42673" y="3296703"/>
            <a:ext cx="17359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ubmit recruitment-related PDs needed for PeopleAdmin recruitm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77D0730-C981-3FD8-8B54-191E3D0799F8}"/>
              </a:ext>
            </a:extLst>
          </p:cNvPr>
          <p:cNvSpPr txBox="1"/>
          <p:nvPr/>
        </p:nvSpPr>
        <p:spPr>
          <a:xfrm>
            <a:off x="1982738" y="3337640"/>
            <a:ext cx="1735966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</a:rPr>
              <a:t>IMPORTANT: </a:t>
            </a:r>
            <a:r>
              <a:rPr lang="en-US" sz="1600" dirty="0"/>
              <a:t>Temporary pause on hiring new employees, including students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8CF004-4FA8-1ACD-1B08-A142E7CF0527}"/>
              </a:ext>
            </a:extLst>
          </p:cNvPr>
          <p:cNvSpPr txBox="1"/>
          <p:nvPr/>
        </p:nvSpPr>
        <p:spPr>
          <a:xfrm>
            <a:off x="3922806" y="3366938"/>
            <a:ext cx="173596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en-US" sz="1600" dirty="0"/>
              <a:t>Continue new recruitments in PeopleAdmi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888009-DA77-988F-B49C-A18AD0D8F2FE}"/>
              </a:ext>
            </a:extLst>
          </p:cNvPr>
          <p:cNvSpPr txBox="1"/>
          <p:nvPr/>
        </p:nvSpPr>
        <p:spPr>
          <a:xfrm>
            <a:off x="5862869" y="3318016"/>
            <a:ext cx="1735971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600" dirty="0"/>
              <a:t>No new recruitments in PeopleAdmin including student recruitments in Benny Hi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38FEC7E-4E15-5FD8-CA11-EC6D8AC883D0}"/>
              </a:ext>
            </a:extLst>
          </p:cNvPr>
          <p:cNvSpPr txBox="1"/>
          <p:nvPr/>
        </p:nvSpPr>
        <p:spPr>
          <a:xfrm>
            <a:off x="7802937" y="3318015"/>
            <a:ext cx="1907991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algn="ctr"/>
            <a:r>
              <a:rPr lang="en-US" sz="1600" dirty="0"/>
              <a:t>Download and save copies of all employees’ PDs in your unit*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9980F25-95F4-B044-3DB2-D8C110D88F5C}"/>
              </a:ext>
            </a:extLst>
          </p:cNvPr>
          <p:cNvSpPr txBox="1"/>
          <p:nvPr/>
        </p:nvSpPr>
        <p:spPr>
          <a:xfrm>
            <a:off x="9915024" y="3296703"/>
            <a:ext cx="197910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600" dirty="0"/>
              <a:t>Can initiate new searches in Workday; expect a two-week pause during the transition period</a:t>
            </a:r>
          </a:p>
        </p:txBody>
      </p:sp>
      <p:pic>
        <p:nvPicPr>
          <p:cNvPr id="15" name="Picture Placeholder 14" descr="Chevron arrows outline">
            <a:extLst>
              <a:ext uri="{FF2B5EF4-FFF2-40B4-BE49-F238E27FC236}">
                <a16:creationId xmlns:a16="http://schemas.microsoft.com/office/drawing/2014/main" id="{EA4B51D3-9D0C-AA77-E498-B404DC6CD0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57" b="1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33337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DQWr.5rdoCbklZaExf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Verdana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SU Slide Master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heme1">
  <a:themeElements>
    <a:clrScheme name="Custom 8">
      <a:dk1>
        <a:srgbClr val="000000"/>
      </a:dk1>
      <a:lt1>
        <a:srgbClr val="FFFFFF"/>
      </a:lt1>
      <a:dk2>
        <a:srgbClr val="8E9089"/>
      </a:dk2>
      <a:lt2>
        <a:srgbClr val="B7A99A"/>
      </a:lt2>
      <a:accent1>
        <a:srgbClr val="D73F09"/>
      </a:accent1>
      <a:accent2>
        <a:srgbClr val="00859B"/>
      </a:accent2>
      <a:accent3>
        <a:srgbClr val="B8DDE1"/>
      </a:accent3>
      <a:accent4>
        <a:srgbClr val="D3832B"/>
      </a:accent4>
      <a:accent5>
        <a:srgbClr val="003B5C"/>
      </a:accent5>
      <a:accent6>
        <a:srgbClr val="0D5157"/>
      </a:accent6>
      <a:hlink>
        <a:srgbClr val="99B862"/>
      </a:hlink>
      <a:folHlink>
        <a:srgbClr val="7A685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lnSpc>
            <a:spcPct val="80000"/>
          </a:lnSpc>
          <a:defRPr sz="4800" b="1" dirty="0">
            <a:solidFill>
              <a:schemeClr val="tx1">
                <a:lumMod val="75000"/>
                <a:lumOff val="25000"/>
              </a:schemeClr>
            </a:solidFill>
            <a:latin typeface="Stratum2 Bold" panose="020B0506030000020004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C70EC8A8-4E99-4673-B34C-502EDD443651}" vid="{6B360458-816A-4D60-B3F5-73DE8EB7237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3357</TotalTime>
  <Words>1490</Words>
  <Application>Microsoft Office PowerPoint</Application>
  <PresentationFormat>Widescreen</PresentationFormat>
  <Paragraphs>180</Paragraphs>
  <Slides>2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5" baseType="lpstr">
      <vt:lpstr>Aptos</vt:lpstr>
      <vt:lpstr>Arial</vt:lpstr>
      <vt:lpstr>Calibri</vt:lpstr>
      <vt:lpstr>Calibri Light</vt:lpstr>
      <vt:lpstr>Chronicle Display Black</vt:lpstr>
      <vt:lpstr>Courier New</vt:lpstr>
      <vt:lpstr>Encode Sans Normal Black</vt:lpstr>
      <vt:lpstr>Gill Sans</vt:lpstr>
      <vt:lpstr>Kievit Offc</vt:lpstr>
      <vt:lpstr>Kievit Offc Medium</vt:lpstr>
      <vt:lpstr>Open Sans</vt:lpstr>
      <vt:lpstr>Open Sans Light</vt:lpstr>
      <vt:lpstr>Stratum2 Black</vt:lpstr>
      <vt:lpstr>Stratum2 Bold</vt:lpstr>
      <vt:lpstr>Stratum2 Regular</vt:lpstr>
      <vt:lpstr>Times</vt:lpstr>
      <vt:lpstr>Verdana</vt:lpstr>
      <vt:lpstr>Wingdings</vt:lpstr>
      <vt:lpstr>Wingdings 2</vt:lpstr>
      <vt:lpstr>1_Office Theme</vt:lpstr>
      <vt:lpstr>OSU Slide Master</vt:lpstr>
      <vt:lpstr>Theme1</vt:lpstr>
      <vt:lpstr>think-cell Slide</vt:lpstr>
      <vt:lpstr>UHR/PAYROLL FORUM</vt:lpstr>
      <vt:lpstr>General Information</vt:lpstr>
      <vt:lpstr>Agenda</vt:lpstr>
      <vt:lpstr>Announcements</vt:lpstr>
      <vt:lpstr>Announcement – National Student Employment Week (April 13-17)</vt:lpstr>
      <vt:lpstr>Announcement – Financial Literacy Month</vt:lpstr>
      <vt:lpstr>UHR/AMP cutover dates</vt:lpstr>
      <vt:lpstr>UHR/AMP cutover dates, cont.</vt:lpstr>
      <vt:lpstr>UHR/AMP cutover dates, cont.</vt:lpstr>
      <vt:lpstr>OPE Composite rate increase</vt:lpstr>
      <vt:lpstr>Summer Academic Wage (SAW) appointment process</vt:lpstr>
      <vt:lpstr>SAW Key Information</vt:lpstr>
      <vt:lpstr>Saw Key Information cont.</vt:lpstr>
      <vt:lpstr>New SAW Hires</vt:lpstr>
      <vt:lpstr>SAW Timeline</vt:lpstr>
      <vt:lpstr>SAW Spreadsheet</vt:lpstr>
      <vt:lpstr>SAW Corrections/Additions</vt:lpstr>
      <vt:lpstr>SAW Letters</vt:lpstr>
      <vt:lpstr>SAW Next Steps</vt:lpstr>
      <vt:lpstr>Fixed-Term Renewal Sneak Peek for April’s Forum:</vt:lpstr>
      <vt:lpstr>Questions?</vt:lpstr>
      <vt:lpstr>THANK YOU</vt:lpstr>
    </vt:vector>
  </TitlesOfParts>
  <Company>Oregon State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/Payroll Forum</dc:title>
  <dc:creator>Ray, Bonny</dc:creator>
  <cp:lastModifiedBy>Kilgore, Meg</cp:lastModifiedBy>
  <cp:revision>3588</cp:revision>
  <cp:lastPrinted>2023-08-11T15:56:18Z</cp:lastPrinted>
  <dcterms:created xsi:type="dcterms:W3CDTF">2022-10-28T02:53:34Z</dcterms:created>
  <dcterms:modified xsi:type="dcterms:W3CDTF">2026-03-13T21:34:38Z</dcterms:modified>
</cp:coreProperties>
</file>